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modernComment_7FFFEE69_6C5C79F5.xml" ContentType="application/vnd.ms-powerpoint.comment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modernComment_7FFFEE2D_C40737E8.xml" ContentType="application/vnd.ms-powerpoint.comments+xml"/>
  <Override PartName="/ppt/notesSlides/notesSlide4.xml" ContentType="application/vnd.openxmlformats-officedocument.presentationml.notesSlide+xml"/>
  <Override PartName="/ppt/comments/modernComment_7FFFEE54_2AFEBD4D.xml" ContentType="application/vnd.ms-powerpoint.comments+xml"/>
  <Override PartName="/ppt/notesSlides/notesSlide5.xml" ContentType="application/vnd.openxmlformats-officedocument.presentationml.notesSlide+xml"/>
  <Override PartName="/ppt/comments/modernComment_7FFFEE52_7A1ABCCA.xml" ContentType="application/vnd.ms-powerpoint.comments+xml"/>
  <Override PartName="/ppt/notesSlides/notesSlide6.xml" ContentType="application/vnd.openxmlformats-officedocument.presentationml.notesSlide+xml"/>
  <Override PartName="/ppt/comments/modernComment_7FFFEE55_65DF1E99.xml" ContentType="application/vnd.ms-powerpoint.comment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omments/modernComment_7FFFEE10_D48E6A6A.xml" ContentType="application/vnd.ms-powerpoint.comment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omments/modernComment_7FFFEE2C_2A1E0C3E.xml" ContentType="application/vnd.ms-powerpoint.comment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omments/modernComment_7FFFEE2E_5712170C.xml" ContentType="application/vnd.ms-powerpoint.comment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omments/modernComment_7FFFEE30_58492234.xml" ContentType="application/vnd.ms-powerpoint.comments+xml"/>
  <Override PartName="/ppt/notesSlides/notesSlide15.xml" ContentType="application/vnd.openxmlformats-officedocument.presentationml.notesSlide+xml"/>
  <Override PartName="/ppt/comments/modernComment_7FFFEE6A_C56402BE.xml" ContentType="application/vnd.ms-powerpoint.comments+xml"/>
  <Override PartName="/ppt/notesSlides/notesSlide16.xml" ContentType="application/vnd.openxmlformats-officedocument.presentationml.notesSlide+xml"/>
  <Override PartName="/ppt/comments/modernComment_7FFFEE70_EBC77832.xml" ContentType="application/vnd.ms-powerpoint.comments+xml"/>
  <Override PartName="/ppt/notesSlides/notesSlide17.xml" ContentType="application/vnd.openxmlformats-officedocument.presentationml.notesSlide+xml"/>
  <Override PartName="/ppt/comments/modernComment_7FFFEE76_9411197A.xml" ContentType="application/vnd.ms-powerpoint.comments+xml"/>
  <Override PartName="/ppt/notesSlides/notesSlide18.xml" ContentType="application/vnd.openxmlformats-officedocument.presentationml.notesSlide+xml"/>
  <Override PartName="/ppt/comments/modernComment_7FFFEE33_6CC3523E.xml" ContentType="application/vnd.ms-powerpoint.comments+xml"/>
  <Override PartName="/ppt/notesSlides/notesSlide19.xml" ContentType="application/vnd.openxmlformats-officedocument.presentationml.notesSlide+xml"/>
  <Override PartName="/ppt/comments/modernComment_7FFFEE34_D517A8F3.xml" ContentType="application/vnd.ms-powerpoint.comments+xml"/>
  <Override PartName="/ppt/comments/modernComment_7FFFEE6D_6BBB7248.xml" ContentType="application/vnd.ms-powerpoint.comments+xml"/>
  <Override PartName="/ppt/comments/modernComment_7FFFEE74_63CD756F.xml" ContentType="application/vnd.ms-powerpoint.comments+xml"/>
  <Override PartName="/ppt/comments/modernComment_7FFFEE71_F13F0221.xml" ContentType="application/vnd.ms-powerpoint.comments+xml"/>
  <Override PartName="/ppt/notesSlides/notesSlide20.xml" ContentType="application/vnd.openxmlformats-officedocument.presentationml.notesSlide+xml"/>
  <Override PartName="/ppt/comments/modernComment_7FFFEE35_5DED8420.xml" ContentType="application/vnd.ms-powerpoint.comments+xml"/>
  <Override PartName="/ppt/notesSlides/notesSlide21.xml" ContentType="application/vnd.openxmlformats-officedocument.presentationml.notesSlide+xml"/>
  <Override PartName="/ppt/comments/modernComment_7FFFEE32_6DA2D6C9.xml" ContentType="application/vnd.ms-powerpoint.comment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comments/modernComment_7FFFEE3B_88EB57C0.xml" ContentType="application/vnd.ms-powerpoint.comment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comments/modernComment_7FFFEE3E_6A8FFE9.xml" ContentType="application/vnd.ms-powerpoint.comments+xml"/>
  <Override PartName="/ppt/notesSlides/notesSlide31.xml" ContentType="application/vnd.openxmlformats-officedocument.presentationml.notesSlide+xml"/>
  <Override PartName="/ppt/comments/modernComment_7FFFEE6C_BFB2B643.xml" ContentType="application/vnd.ms-powerpoint.comments+xml"/>
  <Override PartName="/ppt/notesSlides/notesSlide32.xml" ContentType="application/vnd.openxmlformats-officedocument.presentationml.notesSlide+xml"/>
  <Override PartName="/ppt/comments/modernComment_7FFFEE3F_ED136D4.xml" ContentType="application/vnd.ms-powerpoint.comments+xml"/>
  <Override PartName="/ppt/notesSlides/notesSlide33.xml" ContentType="application/vnd.openxmlformats-officedocument.presentationml.notesSlide+xml"/>
  <Override PartName="/ppt/comments/modernComment_7FFFEE40_6D651ABE.xml" ContentType="application/vnd.ms-powerpoint.comments+xml"/>
  <Override PartName="/ppt/notesSlides/notesSlide34.xml" ContentType="application/vnd.openxmlformats-officedocument.presentationml.notesSlide+xml"/>
  <Override PartName="/ppt/comments/modernComment_7FFFEE41_C22A8713.xml" ContentType="application/vnd.ms-powerpoint.comments+xml"/>
  <Override PartName="/ppt/notesSlides/notesSlide35.xml" ContentType="application/vnd.openxmlformats-officedocument.presentationml.notesSlide+xml"/>
  <Override PartName="/ppt/comments/modernComment_7FFFEE42_A21181F4.xml" ContentType="application/vnd.ms-powerpoint.comments+xml"/>
  <Override PartName="/ppt/notesSlides/notesSlide36.xml" ContentType="application/vnd.openxmlformats-officedocument.presentationml.notesSlide+xml"/>
  <Override PartName="/ppt/comments/modernComment_7FFFEE43_BE788180.xml" ContentType="application/vnd.ms-powerpoint.comments+xml"/>
  <Override PartName="/ppt/notesSlides/notesSlide37.xml" ContentType="application/vnd.openxmlformats-officedocument.presentationml.notesSlide+xml"/>
  <Override PartName="/ppt/comments/modernComment_7FFFEE44_F8E70126.xml" ContentType="application/vnd.ms-powerpoint.comments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comments/modernComment_7FFFEE5A_7B3A2266.xml" ContentType="application/vnd.ms-powerpoint.comments+xml"/>
  <Override PartName="/ppt/notesSlides/notesSlide43.xml" ContentType="application/vnd.openxmlformats-officedocument.presentationml.notesSlide+xml"/>
  <Override PartName="/ppt/comments/modernComment_7FFFEE5B_60970766.xml" ContentType="application/vnd.ms-powerpoint.comments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comments/modernComment_7FFFEE5D_4D3C5726.xml" ContentType="application/vnd.ms-powerpoint.comments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comments/modernComment_7FFFEE5E_8E280CAC.xml" ContentType="application/vnd.ms-powerpoint.comments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comments/modernComment_7FFFEE5F_AD44E370.xml" ContentType="application/vnd.ms-powerpoint.comments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comments/modernComment_7FFFEE60_79DC3653.xml" ContentType="application/vnd.ms-powerpoint.comments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comments/modernComment_7FFFEE61_897F0C6.xml" ContentType="application/vnd.ms-powerpoint.comments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77" r:id="rId4"/>
  </p:sldMasterIdLst>
  <p:notesMasterIdLst>
    <p:notesMasterId r:id="rId76"/>
  </p:notesMasterIdLst>
  <p:handoutMasterIdLst>
    <p:handoutMasterId r:id="rId77"/>
  </p:handoutMasterIdLst>
  <p:sldIdLst>
    <p:sldId id="277" r:id="rId5"/>
    <p:sldId id="2147479143" r:id="rId6"/>
    <p:sldId id="2147479145" r:id="rId7"/>
    <p:sldId id="2147479123" r:id="rId8"/>
    <p:sldId id="2147479085" r:id="rId9"/>
    <p:sldId id="2147479128" r:id="rId10"/>
    <p:sldId id="2147479124" r:id="rId11"/>
    <p:sldId id="2147479122" r:id="rId12"/>
    <p:sldId id="2147479125" r:id="rId13"/>
    <p:sldId id="2147479126" r:id="rId14"/>
    <p:sldId id="2147479057" r:id="rId15"/>
    <p:sldId id="2147479056" r:id="rId16"/>
    <p:sldId id="2147479024" r:id="rId17"/>
    <p:sldId id="2147479084" r:id="rId18"/>
    <p:sldId id="2147479046" r:id="rId19"/>
    <p:sldId id="2147479086" r:id="rId20"/>
    <p:sldId id="2147479087" r:id="rId21"/>
    <p:sldId id="2147479088" r:id="rId22"/>
    <p:sldId id="2147479146" r:id="rId23"/>
    <p:sldId id="2147479089" r:id="rId24"/>
    <p:sldId id="2147479152" r:id="rId25"/>
    <p:sldId id="2147479158" r:id="rId26"/>
    <p:sldId id="2147479091" r:id="rId27"/>
    <p:sldId id="2147479092" r:id="rId28"/>
    <p:sldId id="2147479149" r:id="rId29"/>
    <p:sldId id="2147479156" r:id="rId30"/>
    <p:sldId id="2147479153" r:id="rId31"/>
    <p:sldId id="2147479093" r:id="rId32"/>
    <p:sldId id="2147479090" r:id="rId33"/>
    <p:sldId id="2147479157" r:id="rId34"/>
    <p:sldId id="2147479095" r:id="rId35"/>
    <p:sldId id="2147479096" r:id="rId36"/>
    <p:sldId id="2147479127" r:id="rId37"/>
    <p:sldId id="2147479097" r:id="rId38"/>
    <p:sldId id="2147479098" r:id="rId39"/>
    <p:sldId id="2147479099" r:id="rId40"/>
    <p:sldId id="2147479100" r:id="rId41"/>
    <p:sldId id="2147479101" r:id="rId42"/>
    <p:sldId id="2147479102" r:id="rId43"/>
    <p:sldId id="2147479148" r:id="rId44"/>
    <p:sldId id="2147479103" r:id="rId45"/>
    <p:sldId id="2147479104" r:id="rId46"/>
    <p:sldId id="2147479105" r:id="rId47"/>
    <p:sldId id="2147479106" r:id="rId48"/>
    <p:sldId id="2147479107" r:id="rId49"/>
    <p:sldId id="2147479108" r:id="rId50"/>
    <p:sldId id="2147479109" r:id="rId51"/>
    <p:sldId id="2147479110" r:id="rId52"/>
    <p:sldId id="2147479132" r:id="rId53"/>
    <p:sldId id="2147479111" r:id="rId54"/>
    <p:sldId id="2147479130" r:id="rId55"/>
    <p:sldId id="2147479131" r:id="rId56"/>
    <p:sldId id="2147479113" r:id="rId57"/>
    <p:sldId id="2147479133" r:id="rId58"/>
    <p:sldId id="2147479114" r:id="rId59"/>
    <p:sldId id="2147479134" r:id="rId60"/>
    <p:sldId id="2147479115" r:id="rId61"/>
    <p:sldId id="2147479135" r:id="rId62"/>
    <p:sldId id="2147479116" r:id="rId63"/>
    <p:sldId id="2147479136" r:id="rId64"/>
    <p:sldId id="2147479117" r:id="rId65"/>
    <p:sldId id="2147479137" r:id="rId66"/>
    <p:sldId id="2147479118" r:id="rId67"/>
    <p:sldId id="2147479138" r:id="rId68"/>
    <p:sldId id="2147479151" r:id="rId69"/>
    <p:sldId id="2147479140" r:id="rId70"/>
    <p:sldId id="2147479141" r:id="rId71"/>
    <p:sldId id="2147479119" r:id="rId72"/>
    <p:sldId id="2147479120" r:id="rId73"/>
    <p:sldId id="2147479142" r:id="rId74"/>
    <p:sldId id="2147479129" r:id="rId75"/>
  </p:sldIdLst>
  <p:sldSz cx="12192000" cy="6858000"/>
  <p:notesSz cx="10234613" cy="7099300"/>
  <p:custDataLst>
    <p:tags r:id="rId78"/>
  </p:custDataLst>
  <p:defaultTextStyle>
    <a:defPPr>
      <a:defRPr lang="ja-JP"/>
    </a:defPPr>
    <a:lvl1pPr marL="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既定のセクション" id="{DACC7EA8-93AE-4464-AD79-41599CBC1FBF}">
          <p14:sldIdLst>
            <p14:sldId id="277"/>
            <p14:sldId id="2147479143"/>
            <p14:sldId id="2147479145"/>
            <p14:sldId id="2147479123"/>
            <p14:sldId id="2147479085"/>
            <p14:sldId id="2147479128"/>
            <p14:sldId id="2147479124"/>
            <p14:sldId id="2147479122"/>
            <p14:sldId id="2147479125"/>
            <p14:sldId id="2147479126"/>
            <p14:sldId id="2147479057"/>
            <p14:sldId id="2147479056"/>
            <p14:sldId id="2147479024"/>
            <p14:sldId id="2147479084"/>
            <p14:sldId id="2147479046"/>
            <p14:sldId id="2147479086"/>
            <p14:sldId id="2147479087"/>
            <p14:sldId id="2147479088"/>
            <p14:sldId id="2147479146"/>
            <p14:sldId id="2147479089"/>
            <p14:sldId id="2147479152"/>
            <p14:sldId id="2147479158"/>
            <p14:sldId id="2147479091"/>
            <p14:sldId id="2147479092"/>
            <p14:sldId id="2147479149"/>
            <p14:sldId id="2147479156"/>
            <p14:sldId id="2147479153"/>
            <p14:sldId id="2147479093"/>
            <p14:sldId id="2147479090"/>
            <p14:sldId id="2147479157"/>
            <p14:sldId id="2147479095"/>
            <p14:sldId id="2147479096"/>
            <p14:sldId id="2147479127"/>
            <p14:sldId id="2147479097"/>
            <p14:sldId id="2147479098"/>
            <p14:sldId id="2147479099"/>
            <p14:sldId id="2147479100"/>
            <p14:sldId id="2147479101"/>
            <p14:sldId id="2147479102"/>
            <p14:sldId id="2147479148"/>
            <p14:sldId id="2147479103"/>
            <p14:sldId id="2147479104"/>
            <p14:sldId id="2147479105"/>
            <p14:sldId id="2147479106"/>
            <p14:sldId id="2147479107"/>
            <p14:sldId id="2147479108"/>
            <p14:sldId id="2147479109"/>
            <p14:sldId id="2147479110"/>
            <p14:sldId id="2147479132"/>
            <p14:sldId id="2147479111"/>
            <p14:sldId id="2147479130"/>
            <p14:sldId id="2147479131"/>
            <p14:sldId id="2147479113"/>
            <p14:sldId id="2147479133"/>
            <p14:sldId id="2147479114"/>
            <p14:sldId id="2147479134"/>
            <p14:sldId id="2147479115"/>
            <p14:sldId id="2147479135"/>
            <p14:sldId id="2147479116"/>
            <p14:sldId id="2147479136"/>
            <p14:sldId id="2147479117"/>
            <p14:sldId id="2147479137"/>
            <p14:sldId id="2147479118"/>
            <p14:sldId id="2147479138"/>
            <p14:sldId id="2147479151"/>
            <p14:sldId id="2147479140"/>
            <p14:sldId id="2147479141"/>
            <p14:sldId id="2147479119"/>
            <p14:sldId id="2147479120"/>
            <p14:sldId id="2147479142"/>
            <p14:sldId id="2147479129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777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orient="horz" pos="278" userDrawn="1">
          <p15:clr>
            <a:srgbClr val="A4A3A4"/>
          </p15:clr>
        </p15:guide>
        <p15:guide id="11" pos="7491" userDrawn="1">
          <p15:clr>
            <a:srgbClr val="A4A3A4"/>
          </p15:clr>
        </p15:guide>
        <p15:guide id="12" orient="horz" pos="1638" userDrawn="1">
          <p15:clr>
            <a:srgbClr val="A4A3A4"/>
          </p15:clr>
        </p15:guide>
        <p15:guide id="13" pos="75" userDrawn="1">
          <p15:clr>
            <a:srgbClr val="A4A3A4"/>
          </p15:clr>
        </p15:guide>
        <p15:guide id="14" pos="1867" userDrawn="1">
          <p15:clr>
            <a:srgbClr val="A4A3A4"/>
          </p15:clr>
        </p15:guide>
        <p15:guide id="15" orient="horz" pos="1321" userDrawn="1">
          <p15:clr>
            <a:srgbClr val="A4A3A4"/>
          </p15:clr>
        </p15:guide>
        <p15:guide id="16" orient="horz" pos="4042" userDrawn="1">
          <p15:clr>
            <a:srgbClr val="A4A3A4"/>
          </p15:clr>
        </p15:guide>
        <p15:guide id="17" pos="6199" userDrawn="1">
          <p15:clr>
            <a:srgbClr val="A4A3A4"/>
          </p15:clr>
        </p15:guide>
        <p15:guide id="18" orient="horz" pos="958" userDrawn="1">
          <p15:clr>
            <a:srgbClr val="A4A3A4"/>
          </p15:clr>
        </p15:guide>
        <p15:guide id="19" pos="257" userDrawn="1">
          <p15:clr>
            <a:srgbClr val="A4A3A4"/>
          </p15:clr>
        </p15:guide>
        <p15:guide id="20" orient="horz" pos="275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524E301-BFC6-C6A2-FA63-9FB28661451F}" name="箕浦 直人(Naoto Minoura)" initials="直箕" userId="S::J2128124@jera.co.jp::5919062d-2b7b-4207-8a53-93523815897f" providerId="AD"/>
  <p188:author id="{E8550E2B-56CB-DA52-80BF-40621D1F39BF}" name="宮島 正宏(Masahiro Miyajima)" initials="宮M" userId="S::j1921625@jera.co.jp::6f75482e-d5f0-4de1-b2fa-419953a05505" providerId="AD"/>
  <p188:author id="{52E41456-2798-3B71-9F7D-2D71EF7F30FB}" name="小野内 雄一(Yuichi Onouchi)" initials="雄小" userId="S::J1947478@jera.co.jp::25f26155-90d4-48cf-af53-6e500664977b" providerId="AD"/>
  <p188:author id="{840B1D75-6F10-AB84-1E38-E873252AC3E7}" name="宮島 正宏(Masahiro Miyajima)" initials="正宮" userId="S::J1921625@jera.co.jp::6f75482e-d5f0-4de1-b2fa-419953a05505" providerId="AD"/>
  <p188:author id="{E6A8F7B3-F6E0-7400-0CB1-BFB2907DE42F}" name="高橋 恵治(Keiji Takahashi)" initials="恵高" userId="S::J1932961@jera.co.jp::82b88530-1dab-42fe-ae3a-d213f19dfabb" providerId="AD"/>
  <p188:author id="{9A55D6BA-B2E9-0F39-5B95-6ABF9A24FA6C}" name="岡口 基生(Motoo Okaguchi)" initials="岡O" userId="S::j1921601@jera.co.jp::5a6516ef-09e3-4b71-9d65-f16ad6b897d5" providerId="AD"/>
  <p188:author id="{3101C8CC-2D3B-190F-F625-A8C25B0C4020}" name="河合 寿人(Hisato Kawai)" initials="河K" userId="S::j1933501@jera.co.jp::216780ff-c138-4097-8a2b-a6d3fac060ac" providerId="AD"/>
  <p188:author id="{8F9418E2-D15F-F295-2BB5-6149BA86D552}" name="高橋 恵治(Keiji Takahashi)" initials="高T" userId="S::j1932961@jera.co.jp::82b88530-1dab-42fe-ae3a-d213f19dfab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8CD"/>
    <a:srgbClr val="B0B1B2"/>
    <a:srgbClr val="70B42C"/>
    <a:srgbClr val="EDEFF1"/>
    <a:srgbClr val="F6F8F8"/>
    <a:srgbClr val="0088EE"/>
    <a:srgbClr val="0B8CE3"/>
    <a:srgbClr val="66FFFF"/>
    <a:srgbClr val="0BC2DB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141CB6B-8CA8-80AC-6B84-864DD86B30F7}" v="13" dt="2026-01-18T22:59:58.577"/>
    <p1510:client id="{AE3F3AB7-B36F-44E2-A103-D7357A1408ED}" v="283" dt="2026-01-19T05:41:54.6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中間スタイル 1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75DCB02-9BB8-47FD-8907-85C794F793BA}" styleName="テーマ スタイル 1 - アクセント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テーマ スタイル 1 - アクセント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淡色スタイル 1 - アクセント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27102A9-8310-4765-A935-A1911B00CA55}" styleName="淡色スタイル 1 - アクセント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C89EF96-8CEA-46FF-86C4-4CE0E7609802}" styleName="淡色スタイル 3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754" y="53"/>
      </p:cViewPr>
      <p:guideLst>
        <p:guide orient="horz" pos="777"/>
        <p:guide pos="3840"/>
        <p:guide orient="horz" pos="278"/>
        <p:guide pos="7491"/>
        <p:guide orient="horz" pos="1638"/>
        <p:guide pos="75"/>
        <p:guide pos="1867"/>
        <p:guide orient="horz" pos="1321"/>
        <p:guide orient="horz" pos="4042"/>
        <p:guide pos="6199"/>
        <p:guide orient="horz" pos="958"/>
        <p:guide pos="257"/>
        <p:guide orient="horz" pos="275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76" Type="http://schemas.openxmlformats.org/officeDocument/2006/relationships/notesMaster" Target="notesMasters/notesMaster1.xml"/><Relationship Id="rId84" Type="http://schemas.microsoft.com/office/2015/10/relationships/revisionInfo" Target="revisionInfo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slide" Target="slides/slide70.xml"/><Relationship Id="rId79" Type="http://schemas.openxmlformats.org/officeDocument/2006/relationships/presProps" Target="pres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82" Type="http://schemas.openxmlformats.org/officeDocument/2006/relationships/tableStyles" Target="tableStyles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viewProps" Target="viewProps.xml"/><Relationship Id="rId85" Type="http://schemas.microsoft.com/office/2018/10/relationships/authors" Target="author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tags" Target="tags/tag1.xml"/><Relationship Id="rId81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河合 寿人(Hisato Kawai)" userId="S::j1933501@jera.co.jp::216780ff-c138-4097-8a2b-a6d3fac060ac" providerId="AD" clId="Web-{82EB8F5F-2237-9B4E-3268-B73C6D731DAA}"/>
    <pc:docChg chg="addSld delSld modSld sldOrd modSection">
      <pc:chgData name="河合 寿人(Hisato Kawai)" userId="S::j1933501@jera.co.jp::216780ff-c138-4097-8a2b-a6d3fac060ac" providerId="AD" clId="Web-{82EB8F5F-2237-9B4E-3268-B73C6D731DAA}" dt="2026-01-16T01:37:46.083" v="237" actId="14100"/>
      <pc:docMkLst>
        <pc:docMk/>
      </pc:docMkLst>
      <pc:sldChg chg="modSp">
        <pc:chgData name="河合 寿人(Hisato Kawai)" userId="S::j1933501@jera.co.jp::216780ff-c138-4097-8a2b-a6d3fac060ac" providerId="AD" clId="Web-{82EB8F5F-2237-9B4E-3268-B73C6D731DAA}" dt="2026-01-16T00:07:42.157" v="1" actId="1076"/>
        <pc:sldMkLst>
          <pc:docMk/>
          <pc:sldMk cId="1824739902" sldId="2147479091"/>
        </pc:sldMkLst>
      </pc:sldChg>
      <pc:sldChg chg="modSp">
        <pc:chgData name="河合 寿人(Hisato Kawai)" userId="S::j1933501@jera.co.jp::216780ff-c138-4097-8a2b-a6d3fac060ac" providerId="AD" clId="Web-{82EB8F5F-2237-9B4E-3268-B73C6D731DAA}" dt="2026-01-16T00:08:51.163" v="13" actId="1076"/>
        <pc:sldMkLst>
          <pc:docMk/>
          <pc:sldMk cId="1575846944" sldId="2147479093"/>
        </pc:sldMkLst>
      </pc:sldChg>
      <pc:sldChg chg="addSp modSp">
        <pc:chgData name="河合 寿人(Hisato Kawai)" userId="S::j1933501@jera.co.jp::216780ff-c138-4097-8a2b-a6d3fac060ac" providerId="AD" clId="Web-{82EB8F5F-2237-9B4E-3268-B73C6D731DAA}" dt="2026-01-16T00:09:33.010" v="15" actId="14100"/>
        <pc:sldMkLst>
          <pc:docMk/>
          <pc:sldMk cId="3605034398" sldId="2147479097"/>
        </pc:sldMkLst>
        <pc:cxnChg chg="add mod">
          <ac:chgData name="河合 寿人(Hisato Kawai)" userId="S::j1933501@jera.co.jp::216780ff-c138-4097-8a2b-a6d3fac060ac" providerId="AD" clId="Web-{82EB8F5F-2237-9B4E-3268-B73C6D731DAA}" dt="2026-01-16T00:09:33.010" v="15" actId="14100"/>
          <ac:cxnSpMkLst>
            <pc:docMk/>
            <pc:sldMk cId="3605034398" sldId="2147479097"/>
            <ac:cxnSpMk id="4" creationId="{F8891816-1CCD-6D85-F7F7-5D4E8162A5DD}"/>
          </ac:cxnSpMkLst>
        </pc:cxnChg>
      </pc:sldChg>
      <pc:sldChg chg="delSp add del">
        <pc:chgData name="河合 寿人(Hisato Kawai)" userId="S::j1933501@jera.co.jp::216780ff-c138-4097-8a2b-a6d3fac060ac" providerId="AD" clId="Web-{82EB8F5F-2237-9B4E-3268-B73C6D731DAA}" dt="2026-01-16T00:13:02.506" v="18"/>
        <pc:sldMkLst>
          <pc:docMk/>
          <pc:sldMk cId="2297124800" sldId="2147479099"/>
        </pc:sldMkLst>
      </pc:sldChg>
      <pc:sldChg chg="ord">
        <pc:chgData name="河合 寿人(Hisato Kawai)" userId="S::j1933501@jera.co.jp::216780ff-c138-4097-8a2b-a6d3fac060ac" providerId="AD" clId="Web-{82EB8F5F-2237-9B4E-3268-B73C6D731DAA}" dt="2026-01-16T00:13:18.772" v="20"/>
        <pc:sldMkLst>
          <pc:docMk/>
          <pc:sldMk cId="2654451437" sldId="2147479100"/>
        </pc:sldMkLst>
      </pc:sldChg>
      <pc:sldChg chg="addSp delSp modSp">
        <pc:chgData name="河合 寿人(Hisato Kawai)" userId="S::j1933501@jera.co.jp::216780ff-c138-4097-8a2b-a6d3fac060ac" providerId="AD" clId="Web-{82EB8F5F-2237-9B4E-3268-B73C6D731DAA}" dt="2026-01-16T00:19:14.843" v="47" actId="20577"/>
        <pc:sldMkLst>
          <pc:docMk/>
          <pc:sldMk cId="111738857" sldId="2147479102"/>
        </pc:sldMkLst>
        <pc:spChg chg="add del mod">
          <ac:chgData name="河合 寿人(Hisato Kawai)" userId="S::j1933501@jera.co.jp::216780ff-c138-4097-8a2b-a6d3fac060ac" providerId="AD" clId="Web-{82EB8F5F-2237-9B4E-3268-B73C6D731DAA}" dt="2026-01-16T00:18:41.937" v="41" actId="14100"/>
          <ac:spMkLst>
            <pc:docMk/>
            <pc:sldMk cId="111738857" sldId="2147479102"/>
            <ac:spMk id="8" creationId="{B96EA317-7DA5-F944-AA71-2B8E25BD9FF5}"/>
          </ac:spMkLst>
        </pc:spChg>
        <pc:picChg chg="add mod ord modCrop">
          <ac:chgData name="河合 寿人(Hisato Kawai)" userId="S::j1933501@jera.co.jp::216780ff-c138-4097-8a2b-a6d3fac060ac" providerId="AD" clId="Web-{82EB8F5F-2237-9B4E-3268-B73C6D731DAA}" dt="2026-01-16T00:18:51.609" v="43"/>
          <ac:picMkLst>
            <pc:docMk/>
            <pc:sldMk cId="111738857" sldId="2147479102"/>
            <ac:picMk id="7" creationId="{8D7046B3-4029-92EB-E4B2-12B8ED51FA6E}"/>
          </ac:picMkLst>
        </pc:picChg>
      </pc:sldChg>
      <pc:sldChg chg="addSp delSp modSp">
        <pc:chgData name="河合 寿人(Hisato Kawai)" userId="S::j1933501@jera.co.jp::216780ff-c138-4097-8a2b-a6d3fac060ac" providerId="AD" clId="Web-{82EB8F5F-2237-9B4E-3268-B73C6D731DAA}" dt="2026-01-16T00:28:04.881" v="80"/>
        <pc:sldMkLst>
          <pc:docMk/>
          <pc:sldMk cId="248592084" sldId="2147479103"/>
        </pc:sldMkLst>
        <pc:spChg chg="add mod">
          <ac:chgData name="河合 寿人(Hisato Kawai)" userId="S::j1933501@jera.co.jp::216780ff-c138-4097-8a2b-a6d3fac060ac" providerId="AD" clId="Web-{82EB8F5F-2237-9B4E-3268-B73C6D731DAA}" dt="2026-01-16T00:26:16.123" v="79" actId="14100"/>
          <ac:spMkLst>
            <pc:docMk/>
            <pc:sldMk cId="248592084" sldId="2147479103"/>
            <ac:spMk id="8" creationId="{78066C8D-FBBE-9CB9-0C41-FFDC98552E20}"/>
          </ac:spMkLst>
        </pc:spChg>
        <pc:picChg chg="add mod ord">
          <ac:chgData name="河合 寿人(Hisato Kawai)" userId="S::j1933501@jera.co.jp::216780ff-c138-4097-8a2b-a6d3fac060ac" providerId="AD" clId="Web-{82EB8F5F-2237-9B4E-3268-B73C6D731DAA}" dt="2026-01-16T00:25:55.699" v="71"/>
          <ac:picMkLst>
            <pc:docMk/>
            <pc:sldMk cId="248592084" sldId="2147479103"/>
            <ac:picMk id="7" creationId="{D465C487-B169-AB09-B2AC-3422B664FB49}"/>
          </ac:picMkLst>
        </pc:picChg>
      </pc:sldChg>
      <pc:sldChg chg="addSp delSp modSp">
        <pc:chgData name="河合 寿人(Hisato Kawai)" userId="S::j1933501@jera.co.jp::216780ff-c138-4097-8a2b-a6d3fac060ac" providerId="AD" clId="Web-{82EB8F5F-2237-9B4E-3268-B73C6D731DAA}" dt="2026-01-16T00:30:46.419" v="95"/>
        <pc:sldMkLst>
          <pc:docMk/>
          <pc:sldMk cId="1835342526" sldId="2147479104"/>
        </pc:sldMkLst>
        <pc:spChg chg="mod topLvl">
          <ac:chgData name="河合 寿人(Hisato Kawai)" userId="S::j1933501@jera.co.jp::216780ff-c138-4097-8a2b-a6d3fac060ac" providerId="AD" clId="Web-{82EB8F5F-2237-9B4E-3268-B73C6D731DAA}" dt="2026-01-16T00:30:32.043" v="94" actId="1076"/>
          <ac:spMkLst>
            <pc:docMk/>
            <pc:sldMk cId="1835342526" sldId="2147479104"/>
            <ac:spMk id="5" creationId="{B08A8C2A-665A-21D0-4FA1-FB09632EE177}"/>
          </ac:spMkLst>
        </pc:spChg>
        <pc:picChg chg="add mod ord">
          <ac:chgData name="河合 寿人(Hisato Kawai)" userId="S::j1933501@jera.co.jp::216780ff-c138-4097-8a2b-a6d3fac060ac" providerId="AD" clId="Web-{82EB8F5F-2237-9B4E-3268-B73C6D731DAA}" dt="2026-01-16T00:30:21.715" v="91"/>
          <ac:picMkLst>
            <pc:docMk/>
            <pc:sldMk cId="1835342526" sldId="2147479104"/>
            <ac:picMk id="8" creationId="{09F45E21-1D49-3CF4-2EE4-A8397FCA66A7}"/>
          </ac:picMkLst>
        </pc:picChg>
      </pc:sldChg>
      <pc:sldChg chg="addSp delSp modSp">
        <pc:chgData name="河合 寿人(Hisato Kawai)" userId="S::j1933501@jera.co.jp::216780ff-c138-4097-8a2b-a6d3fac060ac" providerId="AD" clId="Web-{82EB8F5F-2237-9B4E-3268-B73C6D731DAA}" dt="2026-01-16T00:51:01.632" v="168"/>
        <pc:sldMkLst>
          <pc:docMk/>
          <pc:sldMk cId="3257566995" sldId="2147479105"/>
        </pc:sldMkLst>
        <pc:picChg chg="add mod ord modCrop">
          <ac:chgData name="河合 寿人(Hisato Kawai)" userId="S::j1933501@jera.co.jp::216780ff-c138-4097-8a2b-a6d3fac060ac" providerId="AD" clId="Web-{82EB8F5F-2237-9B4E-3268-B73C6D731DAA}" dt="2026-01-16T00:51:00.929" v="167"/>
          <ac:picMkLst>
            <pc:docMk/>
            <pc:sldMk cId="3257566995" sldId="2147479105"/>
            <ac:picMk id="16" creationId="{67F0F7C1-D72B-6F32-0324-F572B7F42303}"/>
          </ac:picMkLst>
        </pc:picChg>
      </pc:sldChg>
      <pc:sldChg chg="addSp delSp">
        <pc:chgData name="河合 寿人(Hisato Kawai)" userId="S::j1933501@jera.co.jp::216780ff-c138-4097-8a2b-a6d3fac060ac" providerId="AD" clId="Web-{82EB8F5F-2237-9B4E-3268-B73C6D731DAA}" dt="2026-01-16T00:51:12.757" v="169"/>
        <pc:sldMkLst>
          <pc:docMk/>
          <pc:sldMk cId="2719056372" sldId="2147479106"/>
        </pc:sldMkLst>
        <pc:picChg chg="add">
          <ac:chgData name="河合 寿人(Hisato Kawai)" userId="S::j1933501@jera.co.jp::216780ff-c138-4097-8a2b-a6d3fac060ac" providerId="AD" clId="Web-{82EB8F5F-2237-9B4E-3268-B73C6D731DAA}" dt="2026-01-16T00:47:09.641" v="136"/>
          <ac:picMkLst>
            <pc:docMk/>
            <pc:sldMk cId="2719056372" sldId="2147479106"/>
            <ac:picMk id="10" creationId="{CC6F0C12-133A-7BB3-922A-F097917FB8F6}"/>
          </ac:picMkLst>
        </pc:picChg>
      </pc:sldChg>
      <pc:sldChg chg="addSp delSp modSp">
        <pc:chgData name="河合 寿人(Hisato Kawai)" userId="S::j1933501@jera.co.jp::216780ff-c138-4097-8a2b-a6d3fac060ac" providerId="AD" clId="Web-{82EB8F5F-2237-9B4E-3268-B73C6D731DAA}" dt="2026-01-16T00:53:54.260" v="178"/>
        <pc:sldMkLst>
          <pc:docMk/>
          <pc:sldMk cId="3195568512" sldId="2147479107"/>
        </pc:sldMkLst>
        <pc:spChg chg="mod topLvl">
          <ac:chgData name="河合 寿人(Hisato Kawai)" userId="S::j1933501@jera.co.jp::216780ff-c138-4097-8a2b-a6d3fac060ac" providerId="AD" clId="Web-{82EB8F5F-2237-9B4E-3268-B73C6D731DAA}" dt="2026-01-16T00:53:33.088" v="177" actId="14100"/>
          <ac:spMkLst>
            <pc:docMk/>
            <pc:sldMk cId="3195568512" sldId="2147479107"/>
            <ac:spMk id="5" creationId="{07A23AD0-936F-7A78-DDB7-CC36ACEC07FA}"/>
          </ac:spMkLst>
        </pc:spChg>
        <pc:picChg chg="add mod ord">
          <ac:chgData name="河合 寿人(Hisato Kawai)" userId="S::j1933501@jera.co.jp::216780ff-c138-4097-8a2b-a6d3fac060ac" providerId="AD" clId="Web-{82EB8F5F-2237-9B4E-3268-B73C6D731DAA}" dt="2026-01-16T00:53:22.728" v="174"/>
          <ac:picMkLst>
            <pc:docMk/>
            <pc:sldMk cId="3195568512" sldId="2147479107"/>
            <ac:picMk id="7" creationId="{9EA4620D-11EF-D29F-099D-730AD5A9AE4A}"/>
          </ac:picMkLst>
        </pc:picChg>
      </pc:sldChg>
      <pc:sldChg chg="addSp delSp modSp">
        <pc:chgData name="河合 寿人(Hisato Kawai)" userId="S::j1933501@jera.co.jp::216780ff-c138-4097-8a2b-a6d3fac060ac" providerId="AD" clId="Web-{82EB8F5F-2237-9B4E-3268-B73C6D731DAA}" dt="2026-01-16T01:15:37.095" v="196"/>
        <pc:sldMkLst>
          <pc:docMk/>
          <pc:sldMk cId="4175888678" sldId="2147479108"/>
        </pc:sldMkLst>
        <pc:spChg chg="mod">
          <ac:chgData name="河合 寿人(Hisato Kawai)" userId="S::j1933501@jera.co.jp::216780ff-c138-4097-8a2b-a6d3fac060ac" providerId="AD" clId="Web-{82EB8F5F-2237-9B4E-3268-B73C6D731DAA}" dt="2026-01-16T01:14:11.734" v="194" actId="14100"/>
          <ac:spMkLst>
            <pc:docMk/>
            <pc:sldMk cId="4175888678" sldId="2147479108"/>
            <ac:spMk id="6" creationId="{5EBF4D0C-6B2D-2E30-7625-CD4FF6604047}"/>
          </ac:spMkLst>
        </pc:spChg>
        <pc:spChg chg="mod">
          <ac:chgData name="河合 寿人(Hisato Kawai)" userId="S::j1933501@jera.co.jp::216780ff-c138-4097-8a2b-a6d3fac060ac" providerId="AD" clId="Web-{82EB8F5F-2237-9B4E-3268-B73C6D731DAA}" dt="2026-01-16T01:14:08.358" v="193" actId="14100"/>
          <ac:spMkLst>
            <pc:docMk/>
            <pc:sldMk cId="4175888678" sldId="2147479108"/>
            <ac:spMk id="7" creationId="{9A1846D9-C1F9-8253-362E-C40660356301}"/>
          </ac:spMkLst>
        </pc:spChg>
        <pc:grpChg chg="mod topLvl">
          <ac:chgData name="河合 寿人(Hisato Kawai)" userId="S::j1933501@jera.co.jp::216780ff-c138-4097-8a2b-a6d3fac060ac" providerId="AD" clId="Web-{82EB8F5F-2237-9B4E-3268-B73C6D731DAA}" dt="2026-01-16T01:14:01.936" v="191" actId="1076"/>
          <ac:grpSpMkLst>
            <pc:docMk/>
            <pc:sldMk cId="4175888678" sldId="2147479108"/>
            <ac:grpSpMk id="5" creationId="{98718ABA-3CDF-C527-6577-A3C9BF6878D4}"/>
          </ac:grpSpMkLst>
        </pc:grpChg>
        <pc:picChg chg="add mod ord">
          <ac:chgData name="河合 寿人(Hisato Kawai)" userId="S::j1933501@jera.co.jp::216780ff-c138-4097-8a2b-a6d3fac060ac" providerId="AD" clId="Web-{82EB8F5F-2237-9B4E-3268-B73C6D731DAA}" dt="2026-01-16T01:14:17.234" v="195" actId="1076"/>
          <ac:picMkLst>
            <pc:docMk/>
            <pc:sldMk cId="4175888678" sldId="2147479108"/>
            <ac:picMk id="11" creationId="{2D4B27E4-2C69-8412-F09A-069C9909CFB5}"/>
          </ac:picMkLst>
        </pc:picChg>
      </pc:sldChg>
      <pc:sldChg chg="delSp modSp">
        <pc:chgData name="河合 寿人(Hisato Kawai)" userId="S::j1933501@jera.co.jp::216780ff-c138-4097-8a2b-a6d3fac060ac" providerId="AD" clId="Web-{82EB8F5F-2237-9B4E-3268-B73C6D731DAA}" dt="2026-01-16T01:37:46.083" v="237" actId="14100"/>
        <pc:sldMkLst>
          <pc:docMk/>
          <pc:sldMk cId="2930009164" sldId="2147479113"/>
        </pc:sldMkLst>
        <pc:spChg chg="mod">
          <ac:chgData name="河合 寿人(Hisato Kawai)" userId="S::j1933501@jera.co.jp::216780ff-c138-4097-8a2b-a6d3fac060ac" providerId="AD" clId="Web-{82EB8F5F-2237-9B4E-3268-B73C6D731DAA}" dt="2026-01-16T01:37:18.349" v="234" actId="20577"/>
          <ac:spMkLst>
            <pc:docMk/>
            <pc:sldMk cId="2930009164" sldId="2147479113"/>
            <ac:spMk id="3" creationId="{07F4F383-8076-7B4C-2AEB-0EEF90E876D9}"/>
          </ac:spMkLst>
        </pc:spChg>
        <pc:picChg chg="mod">
          <ac:chgData name="河合 寿人(Hisato Kawai)" userId="S::j1933501@jera.co.jp::216780ff-c138-4097-8a2b-a6d3fac060ac" providerId="AD" clId="Web-{82EB8F5F-2237-9B4E-3268-B73C6D731DAA}" dt="2026-01-16T01:37:46.083" v="237" actId="14100"/>
          <ac:picMkLst>
            <pc:docMk/>
            <pc:sldMk cId="2930009164" sldId="2147479113"/>
            <ac:picMk id="9" creationId="{4A05D986-ED07-B29A-7471-4B508AE04E5C}"/>
          </ac:picMkLst>
        </pc:picChg>
      </pc:sldChg>
      <pc:sldChg chg="delSp modSp">
        <pc:chgData name="河合 寿人(Hisato Kawai)" userId="S::j1933501@jera.co.jp::216780ff-c138-4097-8a2b-a6d3fac060ac" providerId="AD" clId="Web-{82EB8F5F-2237-9B4E-3268-B73C6D731DAA}" dt="2026-01-16T01:20:43.505" v="203"/>
        <pc:sldMkLst>
          <pc:docMk/>
          <pc:sldMk cId="2067407462" sldId="2147479130"/>
        </pc:sldMkLst>
        <pc:spChg chg="mod">
          <ac:chgData name="河合 寿人(Hisato Kawai)" userId="S::j1933501@jera.co.jp::216780ff-c138-4097-8a2b-a6d3fac060ac" providerId="AD" clId="Web-{82EB8F5F-2237-9B4E-3268-B73C6D731DAA}" dt="2026-01-16T01:20:29.755" v="201" actId="20577"/>
          <ac:spMkLst>
            <pc:docMk/>
            <pc:sldMk cId="2067407462" sldId="2147479130"/>
            <ac:spMk id="3" creationId="{07F4F383-8076-7B4C-2AEB-0EEF90E876D9}"/>
          </ac:spMkLst>
        </pc:spChg>
        <pc:picChg chg="mod">
          <ac:chgData name="河合 寿人(Hisato Kawai)" userId="S::j1933501@jera.co.jp::216780ff-c138-4097-8a2b-a6d3fac060ac" providerId="AD" clId="Web-{82EB8F5F-2237-9B4E-3268-B73C6D731DAA}" dt="2026-01-16T01:20:41.615" v="202" actId="1076"/>
          <ac:picMkLst>
            <pc:docMk/>
            <pc:sldMk cId="2067407462" sldId="2147479130"/>
            <ac:picMk id="11" creationId="{6F835E49-7BFC-BBCF-5AF7-3635DD10C345}"/>
          </ac:picMkLst>
        </pc:picChg>
      </pc:sldChg>
      <pc:sldChg chg="addSp delSp modSp">
        <pc:chgData name="河合 寿人(Hisato Kawai)" userId="S::j1933501@jera.co.jp::216780ff-c138-4097-8a2b-a6d3fac060ac" providerId="AD" clId="Web-{82EB8F5F-2237-9B4E-3268-B73C6D731DAA}" dt="2026-01-16T01:36:28.192" v="233" actId="14100"/>
        <pc:sldMkLst>
          <pc:docMk/>
          <pc:sldMk cId="1620510566" sldId="2147479131"/>
        </pc:sldMkLst>
        <pc:spChg chg="mod">
          <ac:chgData name="河合 寿人(Hisato Kawai)" userId="S::j1933501@jera.co.jp::216780ff-c138-4097-8a2b-a6d3fac060ac" providerId="AD" clId="Web-{82EB8F5F-2237-9B4E-3268-B73C6D731DAA}" dt="2026-01-16T01:36:23.755" v="231" actId="14100"/>
          <ac:spMkLst>
            <pc:docMk/>
            <pc:sldMk cId="1620510566" sldId="2147479131"/>
            <ac:spMk id="6" creationId="{DCD7BC47-5519-3A33-DD7A-DC88FEA11707}"/>
          </ac:spMkLst>
        </pc:spChg>
        <pc:spChg chg="mod">
          <ac:chgData name="河合 寿人(Hisato Kawai)" userId="S::j1933501@jera.co.jp::216780ff-c138-4097-8a2b-a6d3fac060ac" providerId="AD" clId="Web-{82EB8F5F-2237-9B4E-3268-B73C6D731DAA}" dt="2026-01-16T01:36:28.192" v="233" actId="14100"/>
          <ac:spMkLst>
            <pc:docMk/>
            <pc:sldMk cId="1620510566" sldId="2147479131"/>
            <ac:spMk id="7" creationId="{3165E80E-6BF6-A7DE-154F-E4F7FC8E69F8}"/>
          </ac:spMkLst>
        </pc:spChg>
        <pc:spChg chg="mod">
          <ac:chgData name="河合 寿人(Hisato Kawai)" userId="S::j1933501@jera.co.jp::216780ff-c138-4097-8a2b-a6d3fac060ac" providerId="AD" clId="Web-{82EB8F5F-2237-9B4E-3268-B73C6D731DAA}" dt="2026-01-16T01:35:54.379" v="225" actId="14100"/>
          <ac:spMkLst>
            <pc:docMk/>
            <pc:sldMk cId="1620510566" sldId="2147479131"/>
            <ac:spMk id="8" creationId="{B4E27EEE-A590-43BC-50E5-1F518A92014D}"/>
          </ac:spMkLst>
        </pc:spChg>
        <pc:grpChg chg="mod">
          <ac:chgData name="河合 寿人(Hisato Kawai)" userId="S::j1933501@jera.co.jp::216780ff-c138-4097-8a2b-a6d3fac060ac" providerId="AD" clId="Web-{82EB8F5F-2237-9B4E-3268-B73C6D731DAA}" dt="2026-01-16T01:35:45.535" v="223" actId="1076"/>
          <ac:grpSpMkLst>
            <pc:docMk/>
            <pc:sldMk cId="1620510566" sldId="2147479131"/>
            <ac:grpSpMk id="2" creationId="{2F0A559D-A917-0A10-648A-05347F2CA9D1}"/>
          </ac:grpSpMkLst>
        </pc:grpChg>
        <pc:picChg chg="add del mod ord">
          <ac:chgData name="河合 寿人(Hisato Kawai)" userId="S::j1933501@jera.co.jp::216780ff-c138-4097-8a2b-a6d3fac060ac" providerId="AD" clId="Web-{82EB8F5F-2237-9B4E-3268-B73C6D731DAA}" dt="2026-01-16T01:35:42.239" v="221"/>
          <ac:picMkLst>
            <pc:docMk/>
            <pc:sldMk cId="1620510566" sldId="2147479131"/>
            <ac:picMk id="5" creationId="{B2E1463A-F70C-5CD5-99C4-DDFA0103634C}"/>
          </ac:picMkLst>
        </pc:picChg>
      </pc:sldChg>
      <pc:sldChg chg="addSp delSp modSp">
        <pc:chgData name="河合 寿人(Hisato Kawai)" userId="S::j1933501@jera.co.jp::216780ff-c138-4097-8a2b-a6d3fac060ac" providerId="AD" clId="Web-{82EB8F5F-2237-9B4E-3268-B73C6D731DAA}" dt="2026-01-16T00:24:58.741" v="67" actId="14100"/>
        <pc:sldMkLst>
          <pc:docMk/>
          <pc:sldMk cId="3216160323" sldId="2147479148"/>
        </pc:sldMkLst>
        <pc:spChg chg="add mod">
          <ac:chgData name="河合 寿人(Hisato Kawai)" userId="S::j1933501@jera.co.jp::216780ff-c138-4097-8a2b-a6d3fac060ac" providerId="AD" clId="Web-{82EB8F5F-2237-9B4E-3268-B73C6D731DAA}" dt="2026-01-16T00:24:58.741" v="67" actId="14100"/>
          <ac:spMkLst>
            <pc:docMk/>
            <pc:sldMk cId="3216160323" sldId="2147479148"/>
            <ac:spMk id="8" creationId="{78066C8D-FBBE-9CB9-0C41-FFDC98552E20}"/>
          </ac:spMkLst>
        </pc:spChg>
        <pc:picChg chg="add mod ord">
          <ac:chgData name="河合 寿人(Hisato Kawai)" userId="S::j1933501@jera.co.jp::216780ff-c138-4097-8a2b-a6d3fac060ac" providerId="AD" clId="Web-{82EB8F5F-2237-9B4E-3268-B73C6D731DAA}" dt="2026-01-16T00:24:52.084" v="64"/>
          <ac:picMkLst>
            <pc:docMk/>
            <pc:sldMk cId="3216160323" sldId="2147479148"/>
            <ac:picMk id="9" creationId="{38D48591-0870-FE56-333D-2B5BF9C20C77}"/>
          </ac:picMkLst>
        </pc:picChg>
      </pc:sldChg>
      <pc:sldChg chg="modSp">
        <pc:chgData name="河合 寿人(Hisato Kawai)" userId="S::j1933501@jera.co.jp::216780ff-c138-4097-8a2b-a6d3fac060ac" providerId="AD" clId="Web-{82EB8F5F-2237-9B4E-3268-B73C6D731DAA}" dt="2026-01-16T00:08:17.676" v="9" actId="1076"/>
        <pc:sldMkLst>
          <pc:docMk/>
          <pc:sldMk cId="1807446600" sldId="2147479149"/>
        </pc:sldMkLst>
        <pc:picChg chg="mod">
          <ac:chgData name="河合 寿人(Hisato Kawai)" userId="S::j1933501@jera.co.jp::216780ff-c138-4097-8a2b-a6d3fac060ac" providerId="AD" clId="Web-{82EB8F5F-2237-9B4E-3268-B73C6D731DAA}" dt="2026-01-16T00:08:17.676" v="9" actId="1076"/>
          <ac:picMkLst>
            <pc:docMk/>
            <pc:sldMk cId="1807446600" sldId="2147479149"/>
            <ac:picMk id="8" creationId="{5B96B49C-4135-5CC3-C795-8A14E98F165A}"/>
          </ac:picMkLst>
        </pc:picChg>
      </pc:sldChg>
      <pc:sldChg chg="modSp">
        <pc:chgData name="河合 寿人(Hisato Kawai)" userId="S::j1933501@jera.co.jp::216780ff-c138-4097-8a2b-a6d3fac060ac" providerId="AD" clId="Web-{82EB8F5F-2237-9B4E-3268-B73C6D731DAA}" dt="2026-01-16T00:08:46.882" v="12" actId="1076"/>
        <pc:sldMkLst>
          <pc:docMk/>
          <pc:sldMk cId="4047438369" sldId="2147479153"/>
        </pc:sldMkLst>
        <pc:picChg chg="mod">
          <ac:chgData name="河合 寿人(Hisato Kawai)" userId="S::j1933501@jera.co.jp::216780ff-c138-4097-8a2b-a6d3fac060ac" providerId="AD" clId="Web-{82EB8F5F-2237-9B4E-3268-B73C6D731DAA}" dt="2026-01-16T00:08:46.882" v="12" actId="1076"/>
          <ac:picMkLst>
            <pc:docMk/>
            <pc:sldMk cId="4047438369" sldId="2147479153"/>
            <ac:picMk id="4" creationId="{955F171F-6B5E-1D65-D395-124D9136A15B}"/>
          </ac:picMkLst>
        </pc:picChg>
      </pc:sldChg>
    </pc:docChg>
  </pc:docChgLst>
  <pc:docChgLst>
    <pc:chgData name="浜崎 秀寿(Hidetoshi Hamazaki)" userId="S::j1921604@jera.co.jp::120c8faf-fa8a-4761-bc4a-d50492a02b99" providerId="AD" clId="Web-{6DE6CED4-3686-A255-E04F-91E035E7F043}"/>
    <pc:docChg chg="modSld">
      <pc:chgData name="浜崎 秀寿(Hidetoshi Hamazaki)" userId="S::j1921604@jera.co.jp::120c8faf-fa8a-4761-bc4a-d50492a02b99" providerId="AD" clId="Web-{6DE6CED4-3686-A255-E04F-91E035E7F043}" dt="2026-01-15T02:56:58.811" v="59" actId="20577"/>
      <pc:docMkLst>
        <pc:docMk/>
      </pc:docMkLst>
      <pc:sldChg chg="modSp">
        <pc:chgData name="浜崎 秀寿(Hidetoshi Hamazaki)" userId="S::j1921604@jera.co.jp::120c8faf-fa8a-4761-bc4a-d50492a02b99" providerId="AD" clId="Web-{6DE6CED4-3686-A255-E04F-91E035E7F043}" dt="2026-01-15T02:56:58.811" v="59" actId="20577"/>
        <pc:sldMkLst>
          <pc:docMk/>
          <pc:sldMk cId="248592084" sldId="2147479103"/>
        </pc:sldMkLst>
        <pc:spChg chg="mod">
          <ac:chgData name="浜崎 秀寿(Hidetoshi Hamazaki)" userId="S::j1921604@jera.co.jp::120c8faf-fa8a-4761-bc4a-d50492a02b99" providerId="AD" clId="Web-{6DE6CED4-3686-A255-E04F-91E035E7F043}" dt="2026-01-15T02:56:58.811" v="59" actId="20577"/>
          <ac:spMkLst>
            <pc:docMk/>
            <pc:sldMk cId="248592084" sldId="2147479103"/>
            <ac:spMk id="3" creationId="{07F4F383-8076-7B4C-2AEB-0EEF90E876D9}"/>
          </ac:spMkLst>
        </pc:spChg>
      </pc:sldChg>
      <pc:sldChg chg="modSp">
        <pc:chgData name="浜崎 秀寿(Hidetoshi Hamazaki)" userId="S::j1921604@jera.co.jp::120c8faf-fa8a-4761-bc4a-d50492a02b99" providerId="AD" clId="Web-{6DE6CED4-3686-A255-E04F-91E035E7F043}" dt="2026-01-15T02:56:44.576" v="41" actId="20577"/>
        <pc:sldMkLst>
          <pc:docMk/>
          <pc:sldMk cId="3216160323" sldId="2147479148"/>
        </pc:sldMkLst>
        <pc:spChg chg="mod">
          <ac:chgData name="浜崎 秀寿(Hidetoshi Hamazaki)" userId="S::j1921604@jera.co.jp::120c8faf-fa8a-4761-bc4a-d50492a02b99" providerId="AD" clId="Web-{6DE6CED4-3686-A255-E04F-91E035E7F043}" dt="2026-01-15T02:56:44.576" v="41" actId="20577"/>
          <ac:spMkLst>
            <pc:docMk/>
            <pc:sldMk cId="3216160323" sldId="2147479148"/>
            <ac:spMk id="3" creationId="{07F4F383-8076-7B4C-2AEB-0EEF90E876D9}"/>
          </ac:spMkLst>
        </pc:spChg>
      </pc:sldChg>
    </pc:docChg>
  </pc:docChgLst>
  <pc:docChgLst>
    <pc:chgData name="河合 寿人(Hisato Kawai)" userId="S::j1933501@jera.co.jp::216780ff-c138-4097-8a2b-a6d3fac060ac" providerId="AD" clId="Web-{25531E9E-01F6-C3EF-5088-64AC9AEC81B8}"/>
    <pc:docChg chg="delSld sldOrd modSection">
      <pc:chgData name="河合 寿人(Hisato Kawai)" userId="S::j1933501@jera.co.jp::216780ff-c138-4097-8a2b-a6d3fac060ac" providerId="AD" clId="Web-{25531E9E-01F6-C3EF-5088-64AC9AEC81B8}" dt="2026-01-16T07:39:11.775" v="1"/>
      <pc:docMkLst>
        <pc:docMk/>
      </pc:docMkLst>
      <pc:sldChg chg="ord">
        <pc:chgData name="河合 寿人(Hisato Kawai)" userId="S::j1933501@jera.co.jp::216780ff-c138-4097-8a2b-a6d3fac060ac" providerId="AD" clId="Web-{25531E9E-01F6-C3EF-5088-64AC9AEC81B8}" dt="2026-01-16T07:27:11.359" v="0"/>
        <pc:sldMkLst>
          <pc:docMk/>
          <pc:sldMk cId="3410610187" sldId="2147479095"/>
        </pc:sldMkLst>
      </pc:sldChg>
    </pc:docChg>
  </pc:docChgLst>
  <pc:docChgLst>
    <pc:chgData name="河合 寿人(Hisato Kawai)" userId="S::j1933501@jera.co.jp::216780ff-c138-4097-8a2b-a6d3fac060ac" providerId="AD" clId="Web-{AE3F3AB7-B36F-44E2-A103-D7357A1408ED}"/>
    <pc:docChg chg="addSld delSld modSld sldOrd modSection">
      <pc:chgData name="河合 寿人(Hisato Kawai)" userId="S::j1933501@jera.co.jp::216780ff-c138-4097-8a2b-a6d3fac060ac" providerId="AD" clId="Web-{AE3F3AB7-B36F-44E2-A103-D7357A1408ED}" dt="2026-01-19T05:41:54.662" v="260" actId="1076"/>
      <pc:docMkLst>
        <pc:docMk/>
      </pc:docMkLst>
      <pc:sldChg chg="modSp">
        <pc:chgData name="河合 寿人(Hisato Kawai)" userId="S::j1933501@jera.co.jp::216780ff-c138-4097-8a2b-a6d3fac060ac" providerId="AD" clId="Web-{AE3F3AB7-B36F-44E2-A103-D7357A1408ED}" dt="2026-01-19T05:35:41.350" v="207" actId="1076"/>
        <pc:sldMkLst>
          <pc:docMk/>
          <pc:sldMk cId="706612286" sldId="2147479084"/>
        </pc:sldMkLst>
        <pc:picChg chg="mod">
          <ac:chgData name="河合 寿人(Hisato Kawai)" userId="S::j1933501@jera.co.jp::216780ff-c138-4097-8a2b-a6d3fac060ac" providerId="AD" clId="Web-{AE3F3AB7-B36F-44E2-A103-D7357A1408ED}" dt="2026-01-19T05:35:41.350" v="207" actId="1076"/>
          <ac:picMkLst>
            <pc:docMk/>
            <pc:sldMk cId="706612286" sldId="2147479084"/>
            <ac:picMk id="11" creationId="{61BEB9A5-9A8C-B996-33E9-2F94CB07E1E6}"/>
          </ac:picMkLst>
        </pc:picChg>
      </pc:sldChg>
      <pc:sldChg chg="modSp">
        <pc:chgData name="河合 寿人(Hisato Kawai)" userId="S::j1933501@jera.co.jp::216780ff-c138-4097-8a2b-a6d3fac060ac" providerId="AD" clId="Web-{AE3F3AB7-B36F-44E2-A103-D7357A1408ED}" dt="2026-01-19T04:36:09.197" v="2" actId="20577"/>
        <pc:sldMkLst>
          <pc:docMk/>
          <pc:sldMk cId="3288807400" sldId="2147479085"/>
        </pc:sldMkLst>
        <pc:spChg chg="mod">
          <ac:chgData name="河合 寿人(Hisato Kawai)" userId="S::j1933501@jera.co.jp::216780ff-c138-4097-8a2b-a6d3fac060ac" providerId="AD" clId="Web-{AE3F3AB7-B36F-44E2-A103-D7357A1408ED}" dt="2026-01-19T04:36:09.197" v="2" actId="20577"/>
          <ac:spMkLst>
            <pc:docMk/>
            <pc:sldMk cId="3288807400" sldId="2147479085"/>
            <ac:spMk id="3" creationId="{07F4F383-8076-7B4C-2AEB-0EEF90E876D9}"/>
          </ac:spMkLst>
        </pc:spChg>
      </pc:sldChg>
      <pc:sldChg chg="addSp delSp modSp">
        <pc:chgData name="河合 寿人(Hisato Kawai)" userId="S::j1933501@jera.co.jp::216780ff-c138-4097-8a2b-a6d3fac060ac" providerId="AD" clId="Web-{AE3F3AB7-B36F-44E2-A103-D7357A1408ED}" dt="2026-01-19T05:37:52.555" v="217" actId="1076"/>
        <pc:sldMkLst>
          <pc:docMk/>
          <pc:sldMk cId="1460803340" sldId="2147479086"/>
        </pc:sldMkLst>
        <pc:picChg chg="del">
          <ac:chgData name="河合 寿人(Hisato Kawai)" userId="S::j1933501@jera.co.jp::216780ff-c138-4097-8a2b-a6d3fac060ac" providerId="AD" clId="Web-{AE3F3AB7-B36F-44E2-A103-D7357A1408ED}" dt="2026-01-19T05:36:42.163" v="208"/>
          <ac:picMkLst>
            <pc:docMk/>
            <pc:sldMk cId="1460803340" sldId="2147479086"/>
            <ac:picMk id="5" creationId="{B1181189-5978-71DF-FDEE-3A13A8FB6C3D}"/>
          </ac:picMkLst>
        </pc:picChg>
        <pc:picChg chg="add mod">
          <ac:chgData name="河合 寿人(Hisato Kawai)" userId="S::j1933501@jera.co.jp::216780ff-c138-4097-8a2b-a6d3fac060ac" providerId="AD" clId="Web-{AE3F3AB7-B36F-44E2-A103-D7357A1408ED}" dt="2026-01-19T05:37:52.555" v="217" actId="1076"/>
          <ac:picMkLst>
            <pc:docMk/>
            <pc:sldMk cId="1460803340" sldId="2147479086"/>
            <ac:picMk id="6" creationId="{622CE997-B5D0-B378-D188-3CD58B101C01}"/>
          </ac:picMkLst>
        </pc:picChg>
      </pc:sldChg>
      <pc:sldChg chg="addSp modSp">
        <pc:chgData name="河合 寿人(Hisato Kawai)" userId="S::j1933501@jera.co.jp::216780ff-c138-4097-8a2b-a6d3fac060ac" providerId="AD" clId="Web-{AE3F3AB7-B36F-44E2-A103-D7357A1408ED}" dt="2026-01-19T05:38:09.649" v="219" actId="1076"/>
        <pc:sldMkLst>
          <pc:docMk/>
          <pc:sldMk cId="1481187892" sldId="2147479088"/>
        </pc:sldMkLst>
        <pc:picChg chg="add mod">
          <ac:chgData name="河合 寿人(Hisato Kawai)" userId="S::j1933501@jera.co.jp::216780ff-c138-4097-8a2b-a6d3fac060ac" providerId="AD" clId="Web-{AE3F3AB7-B36F-44E2-A103-D7357A1408ED}" dt="2026-01-19T05:38:09.649" v="219" actId="1076"/>
          <ac:picMkLst>
            <pc:docMk/>
            <pc:sldMk cId="1481187892" sldId="2147479088"/>
            <ac:picMk id="5" creationId="{261EE874-6FF8-E790-B44B-2AE1BBAF9C62}"/>
          </ac:picMkLst>
        </pc:picChg>
      </pc:sldChg>
      <pc:sldChg chg="addSp delSp modSp ord">
        <pc:chgData name="河合 寿人(Hisato Kawai)" userId="S::j1933501@jera.co.jp::216780ff-c138-4097-8a2b-a6d3fac060ac" providerId="AD" clId="Web-{AE3F3AB7-B36F-44E2-A103-D7357A1408ED}" dt="2026-01-19T04:46:22.421" v="87"/>
        <pc:sldMkLst>
          <pc:docMk/>
          <pc:sldMk cId="1839388361" sldId="2147479090"/>
        </pc:sldMkLst>
        <pc:spChg chg="mod">
          <ac:chgData name="河合 寿人(Hisato Kawai)" userId="S::j1933501@jera.co.jp::216780ff-c138-4097-8a2b-a6d3fac060ac" providerId="AD" clId="Web-{AE3F3AB7-B36F-44E2-A103-D7357A1408ED}" dt="2026-01-19T04:40:58.489" v="26" actId="20577"/>
          <ac:spMkLst>
            <pc:docMk/>
            <pc:sldMk cId="1839388361" sldId="2147479090"/>
            <ac:spMk id="3" creationId="{07F4F383-8076-7B4C-2AEB-0EEF90E876D9}"/>
          </ac:spMkLst>
        </pc:spChg>
        <pc:picChg chg="add del mod">
          <ac:chgData name="河合 寿人(Hisato Kawai)" userId="S::j1933501@jera.co.jp::216780ff-c138-4097-8a2b-a6d3fac060ac" providerId="AD" clId="Web-{AE3F3AB7-B36F-44E2-A103-D7357A1408ED}" dt="2026-01-19T04:40:40.066" v="23" actId="1076"/>
          <ac:picMkLst>
            <pc:docMk/>
            <pc:sldMk cId="1839388361" sldId="2147479090"/>
            <ac:picMk id="2" creationId="{07836927-DF9F-716F-7560-A43436E2F189}"/>
          </ac:picMkLst>
        </pc:picChg>
        <pc:picChg chg="add del mod">
          <ac:chgData name="河合 寿人(Hisato Kawai)" userId="S::j1933501@jera.co.jp::216780ff-c138-4097-8a2b-a6d3fac060ac" providerId="AD" clId="Web-{AE3F3AB7-B36F-44E2-A103-D7357A1408ED}" dt="2026-01-19T04:40:10.189" v="12"/>
          <ac:picMkLst>
            <pc:docMk/>
            <pc:sldMk cId="1839388361" sldId="2147479090"/>
            <ac:picMk id="4" creationId="{D56CABC5-3B72-F55D-CBD7-D90A00BF1F09}"/>
          </ac:picMkLst>
        </pc:picChg>
        <pc:picChg chg="add del mod ord">
          <ac:chgData name="河合 寿人(Hisato Kawai)" userId="S::j1933501@jera.co.jp::216780ff-c138-4097-8a2b-a6d3fac060ac" providerId="AD" clId="Web-{AE3F3AB7-B36F-44E2-A103-D7357A1408ED}" dt="2026-01-19T04:40:36.956" v="22"/>
          <ac:picMkLst>
            <pc:docMk/>
            <pc:sldMk cId="1839388361" sldId="2147479090"/>
            <ac:picMk id="5" creationId="{68235970-171E-FF10-2E9A-50AA8484B4C6}"/>
          </ac:picMkLst>
        </pc:picChg>
        <pc:picChg chg="del">
          <ac:chgData name="河合 寿人(Hisato Kawai)" userId="S::j1933501@jera.co.jp::216780ff-c138-4097-8a2b-a6d3fac060ac" providerId="AD" clId="Web-{AE3F3AB7-B36F-44E2-A103-D7357A1408ED}" dt="2026-01-19T04:40:34.300" v="21"/>
          <ac:picMkLst>
            <pc:docMk/>
            <pc:sldMk cId="1839388361" sldId="2147479090"/>
            <ac:picMk id="6" creationId="{B2706827-8311-FDEE-B5B4-D45FAE1F0CEB}"/>
          </ac:picMkLst>
        </pc:picChg>
      </pc:sldChg>
      <pc:sldChg chg="addSp delSp modSp">
        <pc:chgData name="河合 寿人(Hisato Kawai)" userId="S::j1933501@jera.co.jp::216780ff-c138-4097-8a2b-a6d3fac060ac" providerId="AD" clId="Web-{AE3F3AB7-B36F-44E2-A103-D7357A1408ED}" dt="2026-01-19T05:38:52.635" v="225" actId="1076"/>
        <pc:sldMkLst>
          <pc:docMk/>
          <pc:sldMk cId="1824739902" sldId="2147479091"/>
        </pc:sldMkLst>
        <pc:picChg chg="add del">
          <ac:chgData name="河合 寿人(Hisato Kawai)" userId="S::j1933501@jera.co.jp::216780ff-c138-4097-8a2b-a6d3fac060ac" providerId="AD" clId="Web-{AE3F3AB7-B36F-44E2-A103-D7357A1408ED}" dt="2026-01-19T04:45:31.420" v="81"/>
          <ac:picMkLst>
            <pc:docMk/>
            <pc:sldMk cId="1824739902" sldId="2147479091"/>
            <ac:picMk id="2" creationId="{10C46A2C-B576-BCB6-5FB1-363D174A0CA5}"/>
          </ac:picMkLst>
        </pc:picChg>
        <pc:picChg chg="add del mod ord">
          <ac:chgData name="河合 寿人(Hisato Kawai)" userId="S::j1933501@jera.co.jp::216780ff-c138-4097-8a2b-a6d3fac060ac" providerId="AD" clId="Web-{AE3F3AB7-B36F-44E2-A103-D7357A1408ED}" dt="2026-01-19T04:45:09.247" v="70"/>
          <ac:picMkLst>
            <pc:docMk/>
            <pc:sldMk cId="1824739902" sldId="2147479091"/>
            <ac:picMk id="4" creationId="{221DB160-F706-6691-F910-A1277A16094E}"/>
          </ac:picMkLst>
        </pc:picChg>
        <pc:picChg chg="add mod">
          <ac:chgData name="河合 寿人(Hisato Kawai)" userId="S::j1933501@jera.co.jp::216780ff-c138-4097-8a2b-a6d3fac060ac" providerId="AD" clId="Web-{AE3F3AB7-B36F-44E2-A103-D7357A1408ED}" dt="2026-01-19T05:38:52.635" v="225" actId="1076"/>
          <ac:picMkLst>
            <pc:docMk/>
            <pc:sldMk cId="1824739902" sldId="2147479091"/>
            <ac:picMk id="4" creationId="{8135B7B1-3BB4-CFFD-E747-69A2076B8818}"/>
          </ac:picMkLst>
        </pc:picChg>
        <pc:picChg chg="add del mod">
          <ac:chgData name="河合 寿人(Hisato Kawai)" userId="S::j1933501@jera.co.jp::216780ff-c138-4097-8a2b-a6d3fac060ac" providerId="AD" clId="Web-{AE3F3AB7-B36F-44E2-A103-D7357A1408ED}" dt="2026-01-19T04:45:19.716" v="75"/>
          <ac:picMkLst>
            <pc:docMk/>
            <pc:sldMk cId="1824739902" sldId="2147479091"/>
            <ac:picMk id="5" creationId="{BC43B308-EFB0-D806-7F21-D45BB045605E}"/>
          </ac:picMkLst>
        </pc:picChg>
        <pc:picChg chg="add del mod">
          <ac:chgData name="河合 寿人(Hisato Kawai)" userId="S::j1933501@jera.co.jp::216780ff-c138-4097-8a2b-a6d3fac060ac" providerId="AD" clId="Web-{AE3F3AB7-B36F-44E2-A103-D7357A1408ED}" dt="2026-01-19T04:45:30.264" v="80"/>
          <ac:picMkLst>
            <pc:docMk/>
            <pc:sldMk cId="1824739902" sldId="2147479091"/>
            <ac:picMk id="6" creationId="{3FCC27BA-BE3A-6852-89DD-338AE836FABF}"/>
          </ac:picMkLst>
        </pc:picChg>
        <pc:picChg chg="del mod">
          <ac:chgData name="河合 寿人(Hisato Kawai)" userId="S::j1933501@jera.co.jp::216780ff-c138-4097-8a2b-a6d3fac060ac" providerId="AD" clId="Web-{AE3F3AB7-B36F-44E2-A103-D7357A1408ED}" dt="2026-01-19T05:38:42.259" v="223"/>
          <ac:picMkLst>
            <pc:docMk/>
            <pc:sldMk cId="1824739902" sldId="2147479091"/>
            <ac:picMk id="7" creationId="{F9E65F76-0482-8D76-E400-B7E4586C3091}"/>
          </ac:picMkLst>
        </pc:picChg>
        <pc:picChg chg="add mod">
          <ac:chgData name="河合 寿人(Hisato Kawai)" userId="S::j1933501@jera.co.jp::216780ff-c138-4097-8a2b-a6d3fac060ac" providerId="AD" clId="Web-{AE3F3AB7-B36F-44E2-A103-D7357A1408ED}" dt="2026-01-19T04:45:34.373" v="83" actId="1076"/>
          <ac:picMkLst>
            <pc:docMk/>
            <pc:sldMk cId="1824739902" sldId="2147479091"/>
            <ac:picMk id="8" creationId="{77B22DE4-B366-209A-94A4-175829C27214}"/>
          </ac:picMkLst>
        </pc:picChg>
      </pc:sldChg>
      <pc:sldChg chg="ord">
        <pc:chgData name="河合 寿人(Hisato Kawai)" userId="S::j1933501@jera.co.jp::216780ff-c138-4097-8a2b-a6d3fac060ac" providerId="AD" clId="Web-{AE3F3AB7-B36F-44E2-A103-D7357A1408ED}" dt="2026-01-19T04:45:50.733" v="85"/>
        <pc:sldMkLst>
          <pc:docMk/>
          <pc:sldMk cId="3575097587" sldId="2147479092"/>
        </pc:sldMkLst>
      </pc:sldChg>
      <pc:sldChg chg="addSp delSp modSp">
        <pc:chgData name="河合 寿人(Hisato Kawai)" userId="S::j1933501@jera.co.jp::216780ff-c138-4097-8a2b-a6d3fac060ac" providerId="AD" clId="Web-{AE3F3AB7-B36F-44E2-A103-D7357A1408ED}" dt="2026-01-19T05:39:21.403" v="230" actId="1076"/>
        <pc:sldMkLst>
          <pc:docMk/>
          <pc:sldMk cId="1575846944" sldId="2147479093"/>
        </pc:sldMkLst>
        <pc:spChg chg="mod">
          <ac:chgData name="河合 寿人(Hisato Kawai)" userId="S::j1933501@jera.co.jp::216780ff-c138-4097-8a2b-a6d3fac060ac" providerId="AD" clId="Web-{AE3F3AB7-B36F-44E2-A103-D7357A1408ED}" dt="2026-01-19T04:48:31.704" v="92" actId="20577"/>
          <ac:spMkLst>
            <pc:docMk/>
            <pc:sldMk cId="1575846944" sldId="2147479093"/>
            <ac:spMk id="3" creationId="{07F4F383-8076-7B4C-2AEB-0EEF90E876D9}"/>
          </ac:spMkLst>
        </pc:spChg>
        <pc:picChg chg="add mod ord">
          <ac:chgData name="河合 寿人(Hisato Kawai)" userId="S::j1933501@jera.co.jp::216780ff-c138-4097-8a2b-a6d3fac060ac" providerId="AD" clId="Web-{AE3F3AB7-B36F-44E2-A103-D7357A1408ED}" dt="2026-01-19T04:49:07.080" v="98" actId="1076"/>
          <ac:picMkLst>
            <pc:docMk/>
            <pc:sldMk cId="1575846944" sldId="2147479093"/>
            <ac:picMk id="2" creationId="{FC2E9BC6-DE91-61BD-E282-CF6F36CE9AA3}"/>
          </ac:picMkLst>
        </pc:picChg>
        <pc:picChg chg="del">
          <ac:chgData name="河合 寿人(Hisato Kawai)" userId="S::j1933501@jera.co.jp::216780ff-c138-4097-8a2b-a6d3fac060ac" providerId="AD" clId="Web-{AE3F3AB7-B36F-44E2-A103-D7357A1408ED}" dt="2026-01-19T04:48:11.891" v="91"/>
          <ac:picMkLst>
            <pc:docMk/>
            <pc:sldMk cId="1575846944" sldId="2147479093"/>
            <ac:picMk id="4" creationId="{F20D9369-35FA-60BA-4ACA-3997FE2DAD0F}"/>
          </ac:picMkLst>
        </pc:picChg>
        <pc:picChg chg="add mod">
          <ac:chgData name="河合 寿人(Hisato Kawai)" userId="S::j1933501@jera.co.jp::216780ff-c138-4097-8a2b-a6d3fac060ac" providerId="AD" clId="Web-{AE3F3AB7-B36F-44E2-A103-D7357A1408ED}" dt="2026-01-19T05:39:21.403" v="230" actId="1076"/>
          <ac:picMkLst>
            <pc:docMk/>
            <pc:sldMk cId="1575846944" sldId="2147479093"/>
            <ac:picMk id="5" creationId="{8965356E-6DFD-9DE0-8555-419FFD520B20}"/>
          </ac:picMkLst>
        </pc:picChg>
        <pc:picChg chg="add mod">
          <ac:chgData name="河合 寿人(Hisato Kawai)" userId="S::j1933501@jera.co.jp::216780ff-c138-4097-8a2b-a6d3fac060ac" providerId="AD" clId="Web-{AE3F3AB7-B36F-44E2-A103-D7357A1408ED}" dt="2026-01-19T04:49:26.861" v="105" actId="1076"/>
          <ac:picMkLst>
            <pc:docMk/>
            <pc:sldMk cId="1575846944" sldId="2147479093"/>
            <ac:picMk id="6" creationId="{1E7F57B4-B72A-1CCF-7AF9-7B5C094B4EDE}"/>
          </ac:picMkLst>
        </pc:picChg>
      </pc:sldChg>
      <pc:sldChg chg="addSp delSp modSp">
        <pc:chgData name="河合 寿人(Hisato Kawai)" userId="S::j1933501@jera.co.jp::216780ff-c138-4097-8a2b-a6d3fac060ac" providerId="AD" clId="Web-{AE3F3AB7-B36F-44E2-A103-D7357A1408ED}" dt="2026-01-19T05:13:11.521" v="128" actId="1076"/>
        <pc:sldMkLst>
          <pc:docMk/>
          <pc:sldMk cId="2297124800" sldId="2147479099"/>
        </pc:sldMkLst>
        <pc:picChg chg="add del mod">
          <ac:chgData name="河合 寿人(Hisato Kawai)" userId="S::j1933501@jera.co.jp::216780ff-c138-4097-8a2b-a6d3fac060ac" providerId="AD" clId="Web-{AE3F3AB7-B36F-44E2-A103-D7357A1408ED}" dt="2026-01-19T05:12:42.238" v="123"/>
          <ac:picMkLst>
            <pc:docMk/>
            <pc:sldMk cId="2297124800" sldId="2147479099"/>
            <ac:picMk id="2" creationId="{0CD97EAA-9612-485F-2C92-6467622C98B2}"/>
          </ac:picMkLst>
        </pc:picChg>
        <pc:picChg chg="add mod modCrop">
          <ac:chgData name="河合 寿人(Hisato Kawai)" userId="S::j1933501@jera.co.jp::216780ff-c138-4097-8a2b-a6d3fac060ac" providerId="AD" clId="Web-{AE3F3AB7-B36F-44E2-A103-D7357A1408ED}" dt="2026-01-19T05:13:11.521" v="128" actId="1076"/>
          <ac:picMkLst>
            <pc:docMk/>
            <pc:sldMk cId="2297124800" sldId="2147479099"/>
            <ac:picMk id="4" creationId="{D04BD8DF-C7BB-0114-EA44-1B643EC6959D}"/>
          </ac:picMkLst>
        </pc:picChg>
      </pc:sldChg>
      <pc:sldChg chg="delSp">
        <pc:chgData name="河合 寿人(Hisato Kawai)" userId="S::j1933501@jera.co.jp::216780ff-c138-4097-8a2b-a6d3fac060ac" providerId="AD" clId="Web-{AE3F3AB7-B36F-44E2-A103-D7357A1408ED}" dt="2026-01-19T05:14:08.369" v="129"/>
        <pc:sldMkLst>
          <pc:docMk/>
          <pc:sldMk cId="111738857" sldId="2147479102"/>
        </pc:sldMkLst>
        <pc:spChg chg="del">
          <ac:chgData name="河合 寿人(Hisato Kawai)" userId="S::j1933501@jera.co.jp::216780ff-c138-4097-8a2b-a6d3fac060ac" providerId="AD" clId="Web-{AE3F3AB7-B36F-44E2-A103-D7357A1408ED}" dt="2026-01-19T05:14:08.369" v="129"/>
          <ac:spMkLst>
            <pc:docMk/>
            <pc:sldMk cId="111738857" sldId="2147479102"/>
            <ac:spMk id="6" creationId="{8777038E-9DB5-7961-F6FA-08410F5E91FE}"/>
          </ac:spMkLst>
        </pc:spChg>
      </pc:sldChg>
      <pc:sldChg chg="modSp">
        <pc:chgData name="河合 寿人(Hisato Kawai)" userId="S::j1933501@jera.co.jp::216780ff-c138-4097-8a2b-a6d3fac060ac" providerId="AD" clId="Web-{AE3F3AB7-B36F-44E2-A103-D7357A1408ED}" dt="2026-01-19T05:15:26.530" v="138" actId="20577"/>
        <pc:sldMkLst>
          <pc:docMk/>
          <pc:sldMk cId="248592084" sldId="2147479103"/>
        </pc:sldMkLst>
        <pc:spChg chg="mod">
          <ac:chgData name="河合 寿人(Hisato Kawai)" userId="S::j1933501@jera.co.jp::216780ff-c138-4097-8a2b-a6d3fac060ac" providerId="AD" clId="Web-{AE3F3AB7-B36F-44E2-A103-D7357A1408ED}" dt="2026-01-19T05:15:26.530" v="138" actId="20577"/>
          <ac:spMkLst>
            <pc:docMk/>
            <pc:sldMk cId="248592084" sldId="2147479103"/>
            <ac:spMk id="3" creationId="{07F4F383-8076-7B4C-2AEB-0EEF90E876D9}"/>
          </ac:spMkLst>
        </pc:spChg>
      </pc:sldChg>
      <pc:sldChg chg="modSp">
        <pc:chgData name="河合 寿人(Hisato Kawai)" userId="S::j1933501@jera.co.jp::216780ff-c138-4097-8a2b-a6d3fac060ac" providerId="AD" clId="Web-{AE3F3AB7-B36F-44E2-A103-D7357A1408ED}" dt="2026-01-19T05:16:18.173" v="141" actId="20577"/>
        <pc:sldMkLst>
          <pc:docMk/>
          <pc:sldMk cId="3257566995" sldId="2147479105"/>
        </pc:sldMkLst>
        <pc:spChg chg="mod">
          <ac:chgData name="河合 寿人(Hisato Kawai)" userId="S::j1933501@jera.co.jp::216780ff-c138-4097-8a2b-a6d3fac060ac" providerId="AD" clId="Web-{AE3F3AB7-B36F-44E2-A103-D7357A1408ED}" dt="2026-01-19T05:16:18.173" v="141" actId="20577"/>
          <ac:spMkLst>
            <pc:docMk/>
            <pc:sldMk cId="3257566995" sldId="2147479105"/>
            <ac:spMk id="3" creationId="{07F4F383-8076-7B4C-2AEB-0EEF90E876D9}"/>
          </ac:spMkLst>
        </pc:spChg>
      </pc:sldChg>
      <pc:sldChg chg="addSp delSp modSp">
        <pc:chgData name="河合 寿人(Hisato Kawai)" userId="S::j1933501@jera.co.jp::216780ff-c138-4097-8a2b-a6d3fac060ac" providerId="AD" clId="Web-{AE3F3AB7-B36F-44E2-A103-D7357A1408ED}" dt="2026-01-19T05:39:52.468" v="235" actId="1076"/>
        <pc:sldMkLst>
          <pc:docMk/>
          <pc:sldMk cId="4175888678" sldId="2147479108"/>
        </pc:sldMkLst>
        <pc:picChg chg="add mod">
          <ac:chgData name="河合 寿人(Hisato Kawai)" userId="S::j1933501@jera.co.jp::216780ff-c138-4097-8a2b-a6d3fac060ac" providerId="AD" clId="Web-{AE3F3AB7-B36F-44E2-A103-D7357A1408ED}" dt="2026-01-19T05:39:52.468" v="235" actId="1076"/>
          <ac:picMkLst>
            <pc:docMk/>
            <pc:sldMk cId="4175888678" sldId="2147479108"/>
            <ac:picMk id="4" creationId="{6D29A326-6636-58C9-AE19-A768DA244E17}"/>
          </ac:picMkLst>
        </pc:picChg>
        <pc:picChg chg="del">
          <ac:chgData name="河合 寿人(Hisato Kawai)" userId="S::j1933501@jera.co.jp::216780ff-c138-4097-8a2b-a6d3fac060ac" providerId="AD" clId="Web-{AE3F3AB7-B36F-44E2-A103-D7357A1408ED}" dt="2026-01-19T05:39:42.607" v="233"/>
          <ac:picMkLst>
            <pc:docMk/>
            <pc:sldMk cId="4175888678" sldId="2147479108"/>
            <ac:picMk id="9" creationId="{0CD638D3-DE30-4E95-82DB-50FE7DD7C462}"/>
          </ac:picMkLst>
        </pc:picChg>
      </pc:sldChg>
      <pc:sldChg chg="modSp">
        <pc:chgData name="河合 寿人(Hisato Kawai)" userId="S::j1933501@jera.co.jp::216780ff-c138-4097-8a2b-a6d3fac060ac" providerId="AD" clId="Web-{AE3F3AB7-B36F-44E2-A103-D7357A1408ED}" dt="2026-01-19T05:24:24.723" v="153" actId="1076"/>
        <pc:sldMkLst>
          <pc:docMk/>
          <pc:sldMk cId="423137518" sldId="2147479110"/>
        </pc:sldMkLst>
        <pc:picChg chg="mod">
          <ac:chgData name="河合 寿人(Hisato Kawai)" userId="S::j1933501@jera.co.jp::216780ff-c138-4097-8a2b-a6d3fac060ac" providerId="AD" clId="Web-{AE3F3AB7-B36F-44E2-A103-D7357A1408ED}" dt="2026-01-19T05:24:24.723" v="153" actId="1076"/>
          <ac:picMkLst>
            <pc:docMk/>
            <pc:sldMk cId="423137518" sldId="2147479110"/>
            <ac:picMk id="7" creationId="{DA7AF77F-8BE7-0A50-DCB0-3D579A2DE378}"/>
          </ac:picMkLst>
        </pc:picChg>
      </pc:sldChg>
      <pc:sldChg chg="modSp">
        <pc:chgData name="河合 寿人(Hisato Kawai)" userId="S::j1933501@jera.co.jp::216780ff-c138-4097-8a2b-a6d3fac060ac" providerId="AD" clId="Web-{AE3F3AB7-B36F-44E2-A103-D7357A1408ED}" dt="2026-01-19T05:26:40.276" v="162" actId="20577"/>
        <pc:sldMkLst>
          <pc:docMk/>
          <pc:sldMk cId="2930009164" sldId="2147479113"/>
        </pc:sldMkLst>
        <pc:spChg chg="mod">
          <ac:chgData name="河合 寿人(Hisato Kawai)" userId="S::j1933501@jera.co.jp::216780ff-c138-4097-8a2b-a6d3fac060ac" providerId="AD" clId="Web-{AE3F3AB7-B36F-44E2-A103-D7357A1408ED}" dt="2026-01-19T05:26:40.276" v="162" actId="20577"/>
          <ac:spMkLst>
            <pc:docMk/>
            <pc:sldMk cId="2930009164" sldId="2147479113"/>
            <ac:spMk id="3" creationId="{07F4F383-8076-7B4C-2AEB-0EEF90E876D9}"/>
          </ac:spMkLst>
        </pc:spChg>
      </pc:sldChg>
      <pc:sldChg chg="modSp">
        <pc:chgData name="河合 寿人(Hisato Kawai)" userId="S::j1933501@jera.co.jp::216780ff-c138-4097-8a2b-a6d3fac060ac" providerId="AD" clId="Web-{AE3F3AB7-B36F-44E2-A103-D7357A1408ED}" dt="2026-01-19T05:29:17.421" v="170" actId="20577"/>
        <pc:sldMkLst>
          <pc:docMk/>
          <pc:sldMk cId="3959009829" sldId="2147479114"/>
        </pc:sldMkLst>
        <pc:spChg chg="mod">
          <ac:chgData name="河合 寿人(Hisato Kawai)" userId="S::j1933501@jera.co.jp::216780ff-c138-4097-8a2b-a6d3fac060ac" providerId="AD" clId="Web-{AE3F3AB7-B36F-44E2-A103-D7357A1408ED}" dt="2026-01-19T05:29:17.421" v="170" actId="20577"/>
          <ac:spMkLst>
            <pc:docMk/>
            <pc:sldMk cId="3959009829" sldId="2147479114"/>
            <ac:spMk id="3" creationId="{07F4F383-8076-7B4C-2AEB-0EEF90E876D9}"/>
          </ac:spMkLst>
        </pc:spChg>
        <pc:picChg chg="mod">
          <ac:chgData name="河合 寿人(Hisato Kawai)" userId="S::j1933501@jera.co.jp::216780ff-c138-4097-8a2b-a6d3fac060ac" providerId="AD" clId="Web-{AE3F3AB7-B36F-44E2-A103-D7357A1408ED}" dt="2026-01-19T05:28:59.405" v="168" actId="1076"/>
          <ac:picMkLst>
            <pc:docMk/>
            <pc:sldMk cId="3959009829" sldId="2147479114"/>
            <ac:picMk id="10" creationId="{7F6281D9-9291-6B80-B692-226585E24E3B}"/>
          </ac:picMkLst>
        </pc:picChg>
      </pc:sldChg>
      <pc:sldChg chg="modSp">
        <pc:chgData name="河合 寿人(Hisato Kawai)" userId="S::j1933501@jera.co.jp::216780ff-c138-4097-8a2b-a6d3fac060ac" providerId="AD" clId="Web-{AE3F3AB7-B36F-44E2-A103-D7357A1408ED}" dt="2026-01-19T05:29:30.562" v="171" actId="14100"/>
        <pc:sldMkLst>
          <pc:docMk/>
          <pc:sldMk cId="2095974163" sldId="2147479115"/>
        </pc:sldMkLst>
        <pc:picChg chg="mod">
          <ac:chgData name="河合 寿人(Hisato Kawai)" userId="S::j1933501@jera.co.jp::216780ff-c138-4097-8a2b-a6d3fac060ac" providerId="AD" clId="Web-{AE3F3AB7-B36F-44E2-A103-D7357A1408ED}" dt="2026-01-19T05:29:30.562" v="171" actId="14100"/>
          <ac:picMkLst>
            <pc:docMk/>
            <pc:sldMk cId="2095974163" sldId="2147479115"/>
            <ac:picMk id="10" creationId="{BD2629F5-133C-2A2E-1B3F-2834F2570CA6}"/>
          </ac:picMkLst>
        </pc:picChg>
      </pc:sldChg>
      <pc:sldChg chg="modSp">
        <pc:chgData name="河合 寿人(Hisato Kawai)" userId="S::j1933501@jera.co.jp::216780ff-c138-4097-8a2b-a6d3fac060ac" providerId="AD" clId="Web-{AE3F3AB7-B36F-44E2-A103-D7357A1408ED}" dt="2026-01-19T05:29:57.625" v="175" actId="1076"/>
        <pc:sldMkLst>
          <pc:docMk/>
          <pc:sldMk cId="2003716469" sldId="2147479116"/>
        </pc:sldMkLst>
        <pc:picChg chg="mod">
          <ac:chgData name="河合 寿人(Hisato Kawai)" userId="S::j1933501@jera.co.jp::216780ff-c138-4097-8a2b-a6d3fac060ac" providerId="AD" clId="Web-{AE3F3AB7-B36F-44E2-A103-D7357A1408ED}" dt="2026-01-19T05:29:57.625" v="175" actId="1076"/>
          <ac:picMkLst>
            <pc:docMk/>
            <pc:sldMk cId="2003716469" sldId="2147479116"/>
            <ac:picMk id="7" creationId="{8F914C75-627A-1EF4-0FD2-262C81481E47}"/>
          </ac:picMkLst>
        </pc:picChg>
      </pc:sldChg>
      <pc:sldChg chg="addSp modSp">
        <pc:chgData name="河合 寿人(Hisato Kawai)" userId="S::j1933501@jera.co.jp::216780ff-c138-4097-8a2b-a6d3fac060ac" providerId="AD" clId="Web-{AE3F3AB7-B36F-44E2-A103-D7357A1408ED}" dt="2026-01-19T05:41:25.255" v="254" actId="1076"/>
        <pc:sldMkLst>
          <pc:docMk/>
          <pc:sldMk cId="1341439208" sldId="2147479118"/>
        </pc:sldMkLst>
        <pc:picChg chg="add mod">
          <ac:chgData name="河合 寿人(Hisato Kawai)" userId="S::j1933501@jera.co.jp::216780ff-c138-4097-8a2b-a6d3fac060ac" providerId="AD" clId="Web-{AE3F3AB7-B36F-44E2-A103-D7357A1408ED}" dt="2026-01-19T05:41:25.255" v="254" actId="1076"/>
          <ac:picMkLst>
            <pc:docMk/>
            <pc:sldMk cId="1341439208" sldId="2147479118"/>
            <ac:picMk id="5" creationId="{CB3ACB2A-CD57-03FC-4BBB-9090508FF48F}"/>
          </ac:picMkLst>
        </pc:picChg>
      </pc:sldChg>
      <pc:sldChg chg="addSp modSp">
        <pc:chgData name="河合 寿人(Hisato Kawai)" userId="S::j1933501@jera.co.jp::216780ff-c138-4097-8a2b-a6d3fac060ac" providerId="AD" clId="Web-{AE3F3AB7-B36F-44E2-A103-D7357A1408ED}" dt="2026-01-19T05:41:54.662" v="260" actId="1076"/>
        <pc:sldMkLst>
          <pc:docMk/>
          <pc:sldMk cId="1089113278" sldId="2147479119"/>
        </pc:sldMkLst>
        <pc:spChg chg="mod">
          <ac:chgData name="河合 寿人(Hisato Kawai)" userId="S::j1933501@jera.co.jp::216780ff-c138-4097-8a2b-a6d3fac060ac" providerId="AD" clId="Web-{AE3F3AB7-B36F-44E2-A103-D7357A1408ED}" dt="2026-01-19T05:32:18.425" v="189" actId="1076"/>
          <ac:spMkLst>
            <pc:docMk/>
            <pc:sldMk cId="1089113278" sldId="2147479119"/>
            <ac:spMk id="3" creationId="{07F4F383-8076-7B4C-2AEB-0EEF90E876D9}"/>
          </ac:spMkLst>
        </pc:spChg>
        <pc:spChg chg="mod">
          <ac:chgData name="河合 寿人(Hisato Kawai)" userId="S::j1933501@jera.co.jp::216780ff-c138-4097-8a2b-a6d3fac060ac" providerId="AD" clId="Web-{AE3F3AB7-B36F-44E2-A103-D7357A1408ED}" dt="2026-01-19T05:32:22.394" v="192" actId="1076"/>
          <ac:spMkLst>
            <pc:docMk/>
            <pc:sldMk cId="1089113278" sldId="2147479119"/>
            <ac:spMk id="6" creationId="{459959DB-AE58-B638-38B3-49452D985B89}"/>
          </ac:spMkLst>
        </pc:spChg>
        <pc:spChg chg="mod">
          <ac:chgData name="河合 寿人(Hisato Kawai)" userId="S::j1933501@jera.co.jp::216780ff-c138-4097-8a2b-a6d3fac060ac" providerId="AD" clId="Web-{AE3F3AB7-B36F-44E2-A103-D7357A1408ED}" dt="2026-01-19T05:32:22.409" v="193" actId="1076"/>
          <ac:spMkLst>
            <pc:docMk/>
            <pc:sldMk cId="1089113278" sldId="2147479119"/>
            <ac:spMk id="7" creationId="{D3B6C07B-0E30-3F1D-48D9-8A9C3CB076F4}"/>
          </ac:spMkLst>
        </pc:spChg>
        <pc:picChg chg="add mod">
          <ac:chgData name="河合 寿人(Hisato Kawai)" userId="S::j1933501@jera.co.jp::216780ff-c138-4097-8a2b-a6d3fac060ac" providerId="AD" clId="Web-{AE3F3AB7-B36F-44E2-A103-D7357A1408ED}" dt="2026-01-19T05:41:54.662" v="260" actId="1076"/>
          <ac:picMkLst>
            <pc:docMk/>
            <pc:sldMk cId="1089113278" sldId="2147479119"/>
            <ac:picMk id="5" creationId="{9EE962FD-8F3F-A317-9AFC-177D0B877BB5}"/>
          </ac:picMkLst>
        </pc:picChg>
        <pc:picChg chg="mod">
          <ac:chgData name="河合 寿人(Hisato Kawai)" userId="S::j1933501@jera.co.jp::216780ff-c138-4097-8a2b-a6d3fac060ac" providerId="AD" clId="Web-{AE3F3AB7-B36F-44E2-A103-D7357A1408ED}" dt="2026-01-19T05:32:22.394" v="191" actId="1076"/>
          <ac:picMkLst>
            <pc:docMk/>
            <pc:sldMk cId="1089113278" sldId="2147479119"/>
            <ac:picMk id="10" creationId="{443EA7D1-A126-FAA7-0608-AB92C04069B8}"/>
          </ac:picMkLst>
        </pc:picChg>
      </pc:sldChg>
      <pc:sldChg chg="modSp">
        <pc:chgData name="河合 寿人(Hisato Kawai)" userId="S::j1933501@jera.co.jp::216780ff-c138-4097-8a2b-a6d3fac060ac" providerId="AD" clId="Web-{AE3F3AB7-B36F-44E2-A103-D7357A1408ED}" dt="2026-01-19T05:32:40.785" v="197" actId="1076"/>
        <pc:sldMkLst>
          <pc:docMk/>
          <pc:sldMk cId="64985961" sldId="2147479120"/>
        </pc:sldMkLst>
        <pc:picChg chg="mod">
          <ac:chgData name="河合 寿人(Hisato Kawai)" userId="S::j1933501@jera.co.jp::216780ff-c138-4097-8a2b-a6d3fac060ac" providerId="AD" clId="Web-{AE3F3AB7-B36F-44E2-A103-D7357A1408ED}" dt="2026-01-19T05:32:40.785" v="197" actId="1076"/>
          <ac:picMkLst>
            <pc:docMk/>
            <pc:sldMk cId="64985961" sldId="2147479120"/>
            <ac:picMk id="7" creationId="{D8E4B1E7-09B4-AD7C-580A-201590EA0AA9}"/>
          </ac:picMkLst>
        </pc:picChg>
      </pc:sldChg>
      <pc:sldChg chg="modSp">
        <pc:chgData name="河合 寿人(Hisato Kawai)" userId="S::j1933501@jera.co.jp::216780ff-c138-4097-8a2b-a6d3fac060ac" providerId="AD" clId="Web-{AE3F3AB7-B36F-44E2-A103-D7357A1408ED}" dt="2026-01-19T05:27:39.590" v="166" actId="20577"/>
        <pc:sldMkLst>
          <pc:docMk/>
          <pc:sldMk cId="2067407462" sldId="2147479130"/>
        </pc:sldMkLst>
        <pc:spChg chg="mod">
          <ac:chgData name="河合 寿人(Hisato Kawai)" userId="S::j1933501@jera.co.jp::216780ff-c138-4097-8a2b-a6d3fac060ac" providerId="AD" clId="Web-{AE3F3AB7-B36F-44E2-A103-D7357A1408ED}" dt="2026-01-19T05:27:39.590" v="166" actId="20577"/>
          <ac:spMkLst>
            <pc:docMk/>
            <pc:sldMk cId="2067407462" sldId="2147479130"/>
            <ac:spMk id="3" creationId="{07F4F383-8076-7B4C-2AEB-0EEF90E876D9}"/>
          </ac:spMkLst>
        </pc:spChg>
      </pc:sldChg>
      <pc:sldChg chg="addSp delSp modSp">
        <pc:chgData name="河合 寿人(Hisato Kawai)" userId="S::j1933501@jera.co.jp::216780ff-c138-4097-8a2b-a6d3fac060ac" providerId="AD" clId="Web-{AE3F3AB7-B36F-44E2-A103-D7357A1408ED}" dt="2026-01-19T05:40:10.422" v="238" actId="1076"/>
        <pc:sldMkLst>
          <pc:docMk/>
          <pc:sldMk cId="1620510566" sldId="2147479131"/>
        </pc:sldMkLst>
        <pc:grpChg chg="mod">
          <ac:chgData name="河合 寿人(Hisato Kawai)" userId="S::j1933501@jera.co.jp::216780ff-c138-4097-8a2b-a6d3fac060ac" providerId="AD" clId="Web-{AE3F3AB7-B36F-44E2-A103-D7357A1408ED}" dt="2026-01-19T05:24:24.895" v="155" actId="1076"/>
          <ac:grpSpMkLst>
            <pc:docMk/>
            <pc:sldMk cId="1620510566" sldId="2147479131"/>
            <ac:grpSpMk id="2" creationId="{2F0A559D-A917-0A10-648A-05347F2CA9D1}"/>
          </ac:grpSpMkLst>
        </pc:grpChg>
        <pc:picChg chg="mod">
          <ac:chgData name="河合 寿人(Hisato Kawai)" userId="S::j1933501@jera.co.jp::216780ff-c138-4097-8a2b-a6d3fac060ac" providerId="AD" clId="Web-{AE3F3AB7-B36F-44E2-A103-D7357A1408ED}" dt="2026-01-19T05:24:24.895" v="157" actId="1076"/>
          <ac:picMkLst>
            <pc:docMk/>
            <pc:sldMk cId="1620510566" sldId="2147479131"/>
            <ac:picMk id="4" creationId="{DAA246A6-CD12-A914-2D21-2EA70F827E6D}"/>
          </ac:picMkLst>
        </pc:picChg>
        <pc:picChg chg="mod">
          <ac:chgData name="河合 寿人(Hisato Kawai)" userId="S::j1933501@jera.co.jp::216780ff-c138-4097-8a2b-a6d3fac060ac" providerId="AD" clId="Web-{AE3F3AB7-B36F-44E2-A103-D7357A1408ED}" dt="2026-01-19T05:24:24.895" v="154" actId="1076"/>
          <ac:picMkLst>
            <pc:docMk/>
            <pc:sldMk cId="1620510566" sldId="2147479131"/>
            <ac:picMk id="5" creationId="{B2E1463A-F70C-5CD5-99C4-DDFA0103634C}"/>
          </ac:picMkLst>
        </pc:picChg>
        <pc:picChg chg="del mod">
          <ac:chgData name="河合 寿人(Hisato Kawai)" userId="S::j1933501@jera.co.jp::216780ff-c138-4097-8a2b-a6d3fac060ac" providerId="AD" clId="Web-{AE3F3AB7-B36F-44E2-A103-D7357A1408ED}" dt="2026-01-19T05:40:00.671" v="237"/>
          <ac:picMkLst>
            <pc:docMk/>
            <pc:sldMk cId="1620510566" sldId="2147479131"/>
            <ac:picMk id="9" creationId="{92BAD389-6FB6-8C8C-DB18-CFC2DFD37DF0}"/>
          </ac:picMkLst>
        </pc:picChg>
        <pc:picChg chg="add mod">
          <ac:chgData name="河合 寿人(Hisato Kawai)" userId="S::j1933501@jera.co.jp::216780ff-c138-4097-8a2b-a6d3fac060ac" providerId="AD" clId="Web-{AE3F3AB7-B36F-44E2-A103-D7357A1408ED}" dt="2026-01-19T05:40:10.422" v="238" actId="1076"/>
          <ac:picMkLst>
            <pc:docMk/>
            <pc:sldMk cId="1620510566" sldId="2147479131"/>
            <ac:picMk id="11" creationId="{2B9C1317-94F7-B9E7-C259-02B9E9E16F37}"/>
          </ac:picMkLst>
        </pc:picChg>
      </pc:sldChg>
      <pc:sldChg chg="addSp modSp">
        <pc:chgData name="河合 寿人(Hisato Kawai)" userId="S::j1933501@jera.co.jp::216780ff-c138-4097-8a2b-a6d3fac060ac" providerId="AD" clId="Web-{AE3F3AB7-B36F-44E2-A103-D7357A1408ED}" dt="2026-01-19T05:40:19.235" v="240" actId="1076"/>
        <pc:sldMkLst>
          <pc:docMk/>
          <pc:sldMk cId="1295800102" sldId="2147479133"/>
        </pc:sldMkLst>
        <pc:picChg chg="add mod">
          <ac:chgData name="河合 寿人(Hisato Kawai)" userId="S::j1933501@jera.co.jp::216780ff-c138-4097-8a2b-a6d3fac060ac" providerId="AD" clId="Web-{AE3F3AB7-B36F-44E2-A103-D7357A1408ED}" dt="2026-01-19T05:40:19.235" v="240" actId="1076"/>
          <ac:picMkLst>
            <pc:docMk/>
            <pc:sldMk cId="1295800102" sldId="2147479133"/>
            <ac:picMk id="4" creationId="{F1A317B7-7BC0-9ED2-FB45-EAFA94F8C0FF}"/>
          </ac:picMkLst>
        </pc:picChg>
      </pc:sldChg>
      <pc:sldChg chg="addSp delSp modSp">
        <pc:chgData name="河合 寿人(Hisato Kawai)" userId="S::j1933501@jera.co.jp::216780ff-c138-4097-8a2b-a6d3fac060ac" providerId="AD" clId="Web-{AE3F3AB7-B36F-44E2-A103-D7357A1408ED}" dt="2026-01-19T05:40:44.502" v="245" actId="1076"/>
        <pc:sldMkLst>
          <pc:docMk/>
          <pc:sldMk cId="2384989356" sldId="2147479134"/>
        </pc:sldMkLst>
        <pc:picChg chg="add mod">
          <ac:chgData name="河合 寿人(Hisato Kawai)" userId="S::j1933501@jera.co.jp::216780ff-c138-4097-8a2b-a6d3fac060ac" providerId="AD" clId="Web-{AE3F3AB7-B36F-44E2-A103-D7357A1408ED}" dt="2026-01-19T05:40:44.502" v="245" actId="1076"/>
          <ac:picMkLst>
            <pc:docMk/>
            <pc:sldMk cId="2384989356" sldId="2147479134"/>
            <ac:picMk id="4" creationId="{2F2AC8B0-2F3F-D69A-CED6-F83C1A2A90D6}"/>
          </ac:picMkLst>
        </pc:picChg>
        <pc:picChg chg="del mod">
          <ac:chgData name="河合 寿人(Hisato Kawai)" userId="S::j1933501@jera.co.jp::216780ff-c138-4097-8a2b-a6d3fac060ac" providerId="AD" clId="Web-{AE3F3AB7-B36F-44E2-A103-D7357A1408ED}" dt="2026-01-19T05:40:29.751" v="242"/>
          <ac:picMkLst>
            <pc:docMk/>
            <pc:sldMk cId="2384989356" sldId="2147479134"/>
            <ac:picMk id="13" creationId="{4FCB54AB-7F27-DEBE-013E-1330BA3506A1}"/>
          </ac:picMkLst>
        </pc:picChg>
      </pc:sldChg>
      <pc:sldChg chg="addSp modSp">
        <pc:chgData name="河合 寿人(Hisato Kawai)" userId="S::j1933501@jera.co.jp::216780ff-c138-4097-8a2b-a6d3fac060ac" providerId="AD" clId="Web-{AE3F3AB7-B36F-44E2-A103-D7357A1408ED}" dt="2026-01-19T05:41:05.253" v="249" actId="1076"/>
        <pc:sldMkLst>
          <pc:docMk/>
          <pc:sldMk cId="2906973040" sldId="2147479135"/>
        </pc:sldMkLst>
        <pc:picChg chg="add mod">
          <ac:chgData name="河合 寿人(Hisato Kawai)" userId="S::j1933501@jera.co.jp::216780ff-c138-4097-8a2b-a6d3fac060ac" providerId="AD" clId="Web-{AE3F3AB7-B36F-44E2-A103-D7357A1408ED}" dt="2026-01-19T05:41:05.253" v="249" actId="1076"/>
          <ac:picMkLst>
            <pc:docMk/>
            <pc:sldMk cId="2906973040" sldId="2147479135"/>
            <ac:picMk id="9" creationId="{8CB54823-C00B-794B-F5FB-D5748CE32A56}"/>
          </ac:picMkLst>
        </pc:picChg>
      </pc:sldChg>
      <pc:sldChg chg="modSp">
        <pc:chgData name="河合 寿人(Hisato Kawai)" userId="S::j1933501@jera.co.jp::216780ff-c138-4097-8a2b-a6d3fac060ac" providerId="AD" clId="Web-{AE3F3AB7-B36F-44E2-A103-D7357A1408ED}" dt="2026-01-19T05:31:33.815" v="178" actId="20577"/>
        <pc:sldMkLst>
          <pc:docMk/>
          <pc:sldMk cId="1794238792" sldId="2147479138"/>
        </pc:sldMkLst>
        <pc:spChg chg="mod">
          <ac:chgData name="河合 寿人(Hisato Kawai)" userId="S::j1933501@jera.co.jp::216780ff-c138-4097-8a2b-a6d3fac060ac" providerId="AD" clId="Web-{AE3F3AB7-B36F-44E2-A103-D7357A1408ED}" dt="2026-01-19T05:31:33.815" v="178" actId="20577"/>
          <ac:spMkLst>
            <pc:docMk/>
            <pc:sldMk cId="1794238792" sldId="2147479138"/>
            <ac:spMk id="3" creationId="{07F4F383-8076-7B4C-2AEB-0EEF90E876D9}"/>
          </ac:spMkLst>
        </pc:spChg>
      </pc:sldChg>
      <pc:sldChg chg="addSp modSp">
        <pc:chgData name="河合 寿人(Hisato Kawai)" userId="S::j1933501@jera.co.jp::216780ff-c138-4097-8a2b-a6d3fac060ac" providerId="AD" clId="Web-{AE3F3AB7-B36F-44E2-A103-D7357A1408ED}" dt="2026-01-19T05:41:36.755" v="257" actId="1076"/>
        <pc:sldMkLst>
          <pc:docMk/>
          <pc:sldMk cId="4081422095" sldId="2147479140"/>
        </pc:sldMkLst>
        <pc:picChg chg="mod">
          <ac:chgData name="河合 寿人(Hisato Kawai)" userId="S::j1933501@jera.co.jp::216780ff-c138-4097-8a2b-a6d3fac060ac" providerId="AD" clId="Web-{AE3F3AB7-B36F-44E2-A103-D7357A1408ED}" dt="2026-01-19T05:31:48.268" v="179" actId="1076"/>
          <ac:picMkLst>
            <pc:docMk/>
            <pc:sldMk cId="4081422095" sldId="2147479140"/>
            <ac:picMk id="5" creationId="{ADECE5A2-37A7-145F-357F-5D301F74EC12}"/>
          </ac:picMkLst>
        </pc:picChg>
        <pc:picChg chg="add mod">
          <ac:chgData name="河合 寿人(Hisato Kawai)" userId="S::j1933501@jera.co.jp::216780ff-c138-4097-8a2b-a6d3fac060ac" providerId="AD" clId="Web-{AE3F3AB7-B36F-44E2-A103-D7357A1408ED}" dt="2026-01-19T05:41:36.755" v="257" actId="1076"/>
          <ac:picMkLst>
            <pc:docMk/>
            <pc:sldMk cId="4081422095" sldId="2147479140"/>
            <ac:picMk id="6" creationId="{D77B1CC7-20E0-B4C4-BE3E-069E4B967DC5}"/>
          </ac:picMkLst>
        </pc:picChg>
      </pc:sldChg>
      <pc:sldChg chg="modSp">
        <pc:chgData name="河合 寿人(Hisato Kawai)" userId="S::j1933501@jera.co.jp::216780ff-c138-4097-8a2b-a6d3fac060ac" providerId="AD" clId="Web-{AE3F3AB7-B36F-44E2-A103-D7357A1408ED}" dt="2026-01-19T05:32:02.003" v="180" actId="1076"/>
        <pc:sldMkLst>
          <pc:docMk/>
          <pc:sldMk cId="1573767387" sldId="2147479141"/>
        </pc:sldMkLst>
        <pc:picChg chg="mod">
          <ac:chgData name="河合 寿人(Hisato Kawai)" userId="S::j1933501@jera.co.jp::216780ff-c138-4097-8a2b-a6d3fac060ac" providerId="AD" clId="Web-{AE3F3AB7-B36F-44E2-A103-D7357A1408ED}" dt="2026-01-19T05:32:02.003" v="180" actId="1076"/>
          <ac:picMkLst>
            <pc:docMk/>
            <pc:sldMk cId="1573767387" sldId="2147479141"/>
            <ac:picMk id="5" creationId="{4211C688-8962-B9FE-7671-BB57173A8950}"/>
          </ac:picMkLst>
        </pc:picChg>
      </pc:sldChg>
      <pc:sldChg chg="addSp delSp modSp del">
        <pc:chgData name="河合 寿人(Hisato Kawai)" userId="S::j1933501@jera.co.jp::216780ff-c138-4097-8a2b-a6d3fac060ac" providerId="AD" clId="Web-{AE3F3AB7-B36F-44E2-A103-D7357A1408ED}" dt="2026-01-19T04:43:11.916" v="51"/>
        <pc:sldMkLst>
          <pc:docMk/>
          <pc:sldMk cId="660830317" sldId="2147479147"/>
        </pc:sldMkLst>
        <pc:spChg chg="del mod">
          <ac:chgData name="河合 寿人(Hisato Kawai)" userId="S::j1933501@jera.co.jp::216780ff-c138-4097-8a2b-a6d3fac060ac" providerId="AD" clId="Web-{AE3F3AB7-B36F-44E2-A103-D7357A1408ED}" dt="2026-01-19T04:42:08.226" v="39"/>
          <ac:spMkLst>
            <pc:docMk/>
            <pc:sldMk cId="660830317" sldId="2147479147"/>
            <ac:spMk id="3" creationId="{FD2F132F-4CC0-295C-A702-B23CBFABA51B}"/>
          </ac:spMkLst>
        </pc:spChg>
        <pc:spChg chg="mod">
          <ac:chgData name="河合 寿人(Hisato Kawai)" userId="S::j1933501@jera.co.jp::216780ff-c138-4097-8a2b-a6d3fac060ac" providerId="AD" clId="Web-{AE3F3AB7-B36F-44E2-A103-D7357A1408ED}" dt="2026-01-19T04:42:55.056" v="47" actId="1076"/>
          <ac:spMkLst>
            <pc:docMk/>
            <pc:sldMk cId="660830317" sldId="2147479147"/>
            <ac:spMk id="8" creationId="{C6D210C2-78F9-90D9-8EB1-95F075E69F80}"/>
          </ac:spMkLst>
        </pc:spChg>
        <pc:picChg chg="add mod">
          <ac:chgData name="河合 寿人(Hisato Kawai)" userId="S::j1933501@jera.co.jp::216780ff-c138-4097-8a2b-a6d3fac060ac" providerId="AD" clId="Web-{AE3F3AB7-B36F-44E2-A103-D7357A1408ED}" dt="2026-01-19T04:43:02.885" v="49" actId="1076"/>
          <ac:picMkLst>
            <pc:docMk/>
            <pc:sldMk cId="660830317" sldId="2147479147"/>
            <ac:picMk id="5" creationId="{95CFBEA7-C294-C17B-FFE5-24FF66A8A752}"/>
          </ac:picMkLst>
        </pc:picChg>
      </pc:sldChg>
      <pc:sldChg chg="modSp">
        <pc:chgData name="河合 寿人(Hisato Kawai)" userId="S::j1933501@jera.co.jp::216780ff-c138-4097-8a2b-a6d3fac060ac" providerId="AD" clId="Web-{AE3F3AB7-B36F-44E2-A103-D7357A1408ED}" dt="2026-01-19T05:14:44.481" v="137" actId="20577"/>
        <pc:sldMkLst>
          <pc:docMk/>
          <pc:sldMk cId="3216160323" sldId="2147479148"/>
        </pc:sldMkLst>
        <pc:spChg chg="mod">
          <ac:chgData name="河合 寿人(Hisato Kawai)" userId="S::j1933501@jera.co.jp::216780ff-c138-4097-8a2b-a6d3fac060ac" providerId="AD" clId="Web-{AE3F3AB7-B36F-44E2-A103-D7357A1408ED}" dt="2026-01-19T05:14:44.481" v="137" actId="20577"/>
          <ac:spMkLst>
            <pc:docMk/>
            <pc:sldMk cId="3216160323" sldId="2147479148"/>
            <ac:spMk id="3" creationId="{07F4F383-8076-7B4C-2AEB-0EEF90E876D9}"/>
          </ac:spMkLst>
        </pc:spChg>
      </pc:sldChg>
      <pc:sldChg chg="addSp delSp modSp">
        <pc:chgData name="河合 寿人(Hisato Kawai)" userId="S::j1933501@jera.co.jp::216780ff-c138-4097-8a2b-a6d3fac060ac" providerId="AD" clId="Web-{AE3F3AB7-B36F-44E2-A103-D7357A1408ED}" dt="2026-01-19T05:39:06.433" v="228" actId="1076"/>
        <pc:sldMkLst>
          <pc:docMk/>
          <pc:sldMk cId="1807446600" sldId="2147479149"/>
        </pc:sldMkLst>
        <pc:spChg chg="mod">
          <ac:chgData name="河合 寿人(Hisato Kawai)" userId="S::j1933501@jera.co.jp::216780ff-c138-4097-8a2b-a6d3fac060ac" providerId="AD" clId="Web-{AE3F3AB7-B36F-44E2-A103-D7357A1408ED}" dt="2026-01-19T04:56:18.243" v="117" actId="1076"/>
          <ac:spMkLst>
            <pc:docMk/>
            <pc:sldMk cId="1807446600" sldId="2147479149"/>
            <ac:spMk id="3" creationId="{F05F9B66-8DAC-0875-EBBE-1DDB8C79461C}"/>
          </ac:spMkLst>
        </pc:spChg>
        <pc:picChg chg="add del">
          <ac:chgData name="河合 寿人(Hisato Kawai)" userId="S::j1933501@jera.co.jp::216780ff-c138-4097-8a2b-a6d3fac060ac" providerId="AD" clId="Web-{AE3F3AB7-B36F-44E2-A103-D7357A1408ED}" dt="2026-01-19T04:48:43.814" v="96"/>
          <ac:picMkLst>
            <pc:docMk/>
            <pc:sldMk cId="1807446600" sldId="2147479149"/>
            <ac:picMk id="2" creationId="{3F2408E6-E722-B0B1-7E55-A2FFFEBC2986}"/>
          </ac:picMkLst>
        </pc:picChg>
        <pc:picChg chg="add mod">
          <ac:chgData name="河合 寿人(Hisato Kawai)" userId="S::j1933501@jera.co.jp::216780ff-c138-4097-8a2b-a6d3fac060ac" providerId="AD" clId="Web-{AE3F3AB7-B36F-44E2-A103-D7357A1408ED}" dt="2026-01-19T05:39:06.433" v="228" actId="1076"/>
          <ac:picMkLst>
            <pc:docMk/>
            <pc:sldMk cId="1807446600" sldId="2147479149"/>
            <ac:picMk id="4" creationId="{7D2BC119-3FF2-0D8A-4075-58B51759FB85}"/>
          </ac:picMkLst>
        </pc:picChg>
        <pc:picChg chg="mod">
          <ac:chgData name="河合 寿人(Hisato Kawai)" userId="S::j1933501@jera.co.jp::216780ff-c138-4097-8a2b-a6d3fac060ac" providerId="AD" clId="Web-{AE3F3AB7-B36F-44E2-A103-D7357A1408ED}" dt="2026-01-19T04:56:22.634" v="118" actId="1076"/>
          <ac:picMkLst>
            <pc:docMk/>
            <pc:sldMk cId="1807446600" sldId="2147479149"/>
            <ac:picMk id="8" creationId="{5B96B49C-4135-5CC3-C795-8A14E98F165A}"/>
          </ac:picMkLst>
        </pc:picChg>
      </pc:sldChg>
      <pc:sldChg chg="addSp delSp modSp ord">
        <pc:chgData name="河合 寿人(Hisato Kawai)" userId="S::j1933501@jera.co.jp::216780ff-c138-4097-8a2b-a6d3fac060ac" providerId="AD" clId="Web-{AE3F3AB7-B36F-44E2-A103-D7357A1408ED}" dt="2026-01-19T05:38:33.461" v="222" actId="1076"/>
        <pc:sldMkLst>
          <pc:docMk/>
          <pc:sldMk cId="3955718194" sldId="2147479152"/>
        </pc:sldMkLst>
        <pc:spChg chg="add del mod">
          <ac:chgData name="河合 寿人(Hisato Kawai)" userId="S::j1933501@jera.co.jp::216780ff-c138-4097-8a2b-a6d3fac060ac" providerId="AD" clId="Web-{AE3F3AB7-B36F-44E2-A103-D7357A1408ED}" dt="2026-01-19T04:41:50.335" v="37"/>
          <ac:spMkLst>
            <pc:docMk/>
            <pc:sldMk cId="3955718194" sldId="2147479152"/>
            <ac:spMk id="3" creationId="{E55F830A-4A20-96C9-A9D8-D145C8B64129}"/>
          </ac:spMkLst>
        </pc:spChg>
        <pc:spChg chg="add del mod">
          <ac:chgData name="河合 寿人(Hisato Kawai)" userId="S::j1933501@jera.co.jp::216780ff-c138-4097-8a2b-a6d3fac060ac" providerId="AD" clId="Web-{AE3F3AB7-B36F-44E2-A103-D7357A1408ED}" dt="2026-01-19T04:41:41.522" v="35"/>
          <ac:spMkLst>
            <pc:docMk/>
            <pc:sldMk cId="3955718194" sldId="2147479152"/>
            <ac:spMk id="6" creationId="{7B7DF25C-4595-60F8-7CED-71D1BE5A7DCF}"/>
          </ac:spMkLst>
        </pc:spChg>
        <pc:spChg chg="add del">
          <ac:chgData name="河合 寿人(Hisato Kawai)" userId="S::j1933501@jera.co.jp::216780ff-c138-4097-8a2b-a6d3fac060ac" providerId="AD" clId="Web-{AE3F3AB7-B36F-44E2-A103-D7357A1408ED}" dt="2026-01-19T04:41:38.819" v="34"/>
          <ac:spMkLst>
            <pc:docMk/>
            <pc:sldMk cId="3955718194" sldId="2147479152"/>
            <ac:spMk id="8" creationId="{61CC15BA-13B7-4823-A5A3-D0B0C04BABB1}"/>
          </ac:spMkLst>
        </pc:spChg>
        <pc:picChg chg="del mod">
          <ac:chgData name="河合 寿人(Hisato Kawai)" userId="S::j1933501@jera.co.jp::216780ff-c138-4097-8a2b-a6d3fac060ac" providerId="AD" clId="Web-{AE3F3AB7-B36F-44E2-A103-D7357A1408ED}" dt="2026-01-19T04:53:36.566" v="110"/>
          <ac:picMkLst>
            <pc:docMk/>
            <pc:sldMk cId="3955718194" sldId="2147479152"/>
            <ac:picMk id="2" creationId="{2770EE8F-2393-D4CA-4089-D22E4C9D01D3}"/>
          </ac:picMkLst>
        </pc:picChg>
        <pc:picChg chg="add mod">
          <ac:chgData name="河合 寿人(Hisato Kawai)" userId="S::j1933501@jera.co.jp::216780ff-c138-4097-8a2b-a6d3fac060ac" providerId="AD" clId="Web-{AE3F3AB7-B36F-44E2-A103-D7357A1408ED}" dt="2026-01-19T05:38:33.461" v="222" actId="1076"/>
          <ac:picMkLst>
            <pc:docMk/>
            <pc:sldMk cId="3955718194" sldId="2147479152"/>
            <ac:picMk id="3" creationId="{F68F5521-EA1D-441D-BE34-D4ACBD2C9B97}"/>
          </ac:picMkLst>
        </pc:picChg>
        <pc:picChg chg="add del mod">
          <ac:chgData name="河合 寿人(Hisato Kawai)" userId="S::j1933501@jera.co.jp::216780ff-c138-4097-8a2b-a6d3fac060ac" providerId="AD" clId="Web-{AE3F3AB7-B36F-44E2-A103-D7357A1408ED}" dt="2026-01-19T05:38:21.321" v="220"/>
          <ac:picMkLst>
            <pc:docMk/>
            <pc:sldMk cId="3955718194" sldId="2147479152"/>
            <ac:picMk id="9" creationId="{D3EB30A9-4D49-8F6E-AAE0-BCA0F377220A}"/>
          </ac:picMkLst>
        </pc:picChg>
      </pc:sldChg>
      <pc:sldChg chg="addSp delSp modSp add ord replId">
        <pc:chgData name="河合 寿人(Hisato Kawai)" userId="S::j1933501@jera.co.jp::216780ff-c138-4097-8a2b-a6d3fac060ac" providerId="AD" clId="Web-{AE3F3AB7-B36F-44E2-A103-D7357A1408ED}" dt="2026-01-19T04:55:52.428" v="116"/>
        <pc:sldMkLst>
          <pc:docMk/>
          <pc:sldMk cId="2484148602" sldId="2147479158"/>
        </pc:sldMkLst>
        <pc:picChg chg="add del mod">
          <ac:chgData name="河合 寿人(Hisato Kawai)" userId="S::j1933501@jera.co.jp::216780ff-c138-4097-8a2b-a6d3fac060ac" providerId="AD" clId="Web-{AE3F3AB7-B36F-44E2-A103-D7357A1408ED}" dt="2026-01-19T04:38:50.309" v="5"/>
          <ac:picMkLst>
            <pc:docMk/>
            <pc:sldMk cId="2484148602" sldId="2147479158"/>
            <ac:picMk id="2" creationId="{87819FBE-DEFD-23A2-5646-585E568AE200}"/>
          </ac:picMkLst>
        </pc:picChg>
      </pc:sldChg>
    </pc:docChg>
  </pc:docChgLst>
  <pc:docChgLst>
    <pc:chgData name="河合 寿人(Hisato Kawai)" userId="S::j1933501@jera.co.jp::216780ff-c138-4097-8a2b-a6d3fac060ac" providerId="AD" clId="Web-{DD5983ED-ABB7-E57D-5F97-C22B72DCED5E}"/>
    <pc:docChg chg="modSld">
      <pc:chgData name="河合 寿人(Hisato Kawai)" userId="S::j1933501@jera.co.jp::216780ff-c138-4097-8a2b-a6d3fac060ac" providerId="AD" clId="Web-{DD5983ED-ABB7-E57D-5F97-C22B72DCED5E}" dt="2026-01-16T02:39:08.697" v="20" actId="14100"/>
      <pc:docMkLst>
        <pc:docMk/>
      </pc:docMkLst>
      <pc:sldChg chg="addSp delSp modSp">
        <pc:chgData name="河合 寿人(Hisato Kawai)" userId="S::j1933501@jera.co.jp::216780ff-c138-4097-8a2b-a6d3fac060ac" providerId="AD" clId="Web-{DD5983ED-ABB7-E57D-5F97-C22B72DCED5E}" dt="2026-01-16T02:38:13.975" v="8" actId="14100"/>
        <pc:sldMkLst>
          <pc:docMk/>
          <pc:sldMk cId="2906973040" sldId="2147479135"/>
        </pc:sldMkLst>
        <pc:spChg chg="mod">
          <ac:chgData name="河合 寿人(Hisato Kawai)" userId="S::j1933501@jera.co.jp::216780ff-c138-4097-8a2b-a6d3fac060ac" providerId="AD" clId="Web-{DD5983ED-ABB7-E57D-5F97-C22B72DCED5E}" dt="2026-01-16T02:38:13.975" v="8" actId="14100"/>
          <ac:spMkLst>
            <pc:docMk/>
            <pc:sldMk cId="2906973040" sldId="2147479135"/>
            <ac:spMk id="6" creationId="{5B8F63B1-FD3F-BF3E-C2EA-3F07AA43420F}"/>
          </ac:spMkLst>
        </pc:spChg>
        <pc:spChg chg="mod">
          <ac:chgData name="河合 寿人(Hisato Kawai)" userId="S::j1933501@jera.co.jp::216780ff-c138-4097-8a2b-a6d3fac060ac" providerId="AD" clId="Web-{DD5983ED-ABB7-E57D-5F97-C22B72DCED5E}" dt="2026-01-16T02:38:05.678" v="7" actId="14100"/>
          <ac:spMkLst>
            <pc:docMk/>
            <pc:sldMk cId="2906973040" sldId="2147479135"/>
            <ac:spMk id="8" creationId="{93961E4B-9215-3D61-D323-2CE23F8399B9}"/>
          </ac:spMkLst>
        </pc:spChg>
        <pc:grpChg chg="mod">
          <ac:chgData name="河合 寿人(Hisato Kawai)" userId="S::j1933501@jera.co.jp::216780ff-c138-4097-8a2b-a6d3fac060ac" providerId="AD" clId="Web-{DD5983ED-ABB7-E57D-5F97-C22B72DCED5E}" dt="2026-01-16T02:38:01.224" v="5" actId="14100"/>
          <ac:grpSpMkLst>
            <pc:docMk/>
            <pc:sldMk cId="2906973040" sldId="2147479135"/>
            <ac:grpSpMk id="5" creationId="{44211596-D008-427C-871C-3C1B4AC8008E}"/>
          </ac:grpSpMkLst>
        </pc:grpChg>
        <pc:picChg chg="add mod ord">
          <ac:chgData name="河合 寿人(Hisato Kawai)" userId="S::j1933501@jera.co.jp::216780ff-c138-4097-8a2b-a6d3fac060ac" providerId="AD" clId="Web-{DD5983ED-ABB7-E57D-5F97-C22B72DCED5E}" dt="2026-01-16T02:37:55.365" v="3" actId="1076"/>
          <ac:picMkLst>
            <pc:docMk/>
            <pc:sldMk cId="2906973040" sldId="2147479135"/>
            <ac:picMk id="2" creationId="{35467A7C-CC6F-1D06-11FC-1CB5C50FDA9A}"/>
          </ac:picMkLst>
        </pc:picChg>
      </pc:sldChg>
      <pc:sldChg chg="addSp delSp modSp">
        <pc:chgData name="河合 寿人(Hisato Kawai)" userId="S::j1933501@jera.co.jp::216780ff-c138-4097-8a2b-a6d3fac060ac" providerId="AD" clId="Web-{DD5983ED-ABB7-E57D-5F97-C22B72DCED5E}" dt="2026-01-16T02:39:08.697" v="20" actId="14100"/>
        <pc:sldMkLst>
          <pc:docMk/>
          <pc:sldMk cId="2044474963" sldId="2147479136"/>
        </pc:sldMkLst>
        <pc:spChg chg="mod topLvl">
          <ac:chgData name="河合 寿人(Hisato Kawai)" userId="S::j1933501@jera.co.jp::216780ff-c138-4097-8a2b-a6d3fac060ac" providerId="AD" clId="Web-{DD5983ED-ABB7-E57D-5F97-C22B72DCED5E}" dt="2026-01-16T02:39:08.697" v="20" actId="14100"/>
          <ac:spMkLst>
            <pc:docMk/>
            <pc:sldMk cId="2044474963" sldId="2147479136"/>
            <ac:spMk id="5" creationId="{26546E36-EF0E-F7A0-70C0-E9ED768634C5}"/>
          </ac:spMkLst>
        </pc:spChg>
        <pc:picChg chg="add mod ord">
          <ac:chgData name="河合 寿人(Hisato Kawai)" userId="S::j1933501@jera.co.jp::216780ff-c138-4097-8a2b-a6d3fac060ac" providerId="AD" clId="Web-{DD5983ED-ABB7-E57D-5F97-C22B72DCED5E}" dt="2026-01-16T02:38:59.478" v="17"/>
          <ac:picMkLst>
            <pc:docMk/>
            <pc:sldMk cId="2044474963" sldId="2147479136"/>
            <ac:picMk id="7" creationId="{16D61383-0D95-EE96-D417-DAF7723B1E7D}"/>
          </ac:picMkLst>
        </pc:picChg>
      </pc:sldChg>
    </pc:docChg>
  </pc:docChgLst>
  <pc:docChgLst>
    <pc:chgData name="河合 寿人(Hisato Kawai)" userId="S::j1933501@jera.co.jp::216780ff-c138-4097-8a2b-a6d3fac060ac" providerId="AD" clId="Web-{6A55D518-6097-67E1-6F6A-8B6A564EB161}"/>
    <pc:docChg chg="addSld delSld modSld sldOrd modSection">
      <pc:chgData name="河合 寿人(Hisato Kawai)" userId="S::j1933501@jera.co.jp::216780ff-c138-4097-8a2b-a6d3fac060ac" providerId="AD" clId="Web-{6A55D518-6097-67E1-6F6A-8B6A564EB161}" dt="2026-01-15T09:14:41.876" v="406" actId="20577"/>
      <pc:docMkLst>
        <pc:docMk/>
      </pc:docMkLst>
      <pc:sldChg chg="addSp delSp modSp">
        <pc:chgData name="河合 寿人(Hisato Kawai)" userId="S::j1933501@jera.co.jp::216780ff-c138-4097-8a2b-a6d3fac060ac" providerId="AD" clId="Web-{6A55D518-6097-67E1-6F6A-8B6A564EB161}" dt="2026-01-15T04:06:57.594" v="112"/>
        <pc:sldMkLst>
          <pc:docMk/>
          <pc:sldMk cId="3566103146" sldId="2147479056"/>
        </pc:sldMkLst>
        <pc:cxnChg chg="add mod">
          <ac:chgData name="河合 寿人(Hisato Kawai)" userId="S::j1933501@jera.co.jp::216780ff-c138-4097-8a2b-a6d3fac060ac" providerId="AD" clId="Web-{6A55D518-6097-67E1-6F6A-8B6A564EB161}" dt="2026-01-15T04:06:13.029" v="111"/>
          <ac:cxnSpMkLst>
            <pc:docMk/>
            <pc:sldMk cId="3566103146" sldId="2147479056"/>
            <ac:cxnSpMk id="9" creationId="{1E420A8C-9D4C-EE72-BC4A-29658E5E8F45}"/>
          </ac:cxnSpMkLst>
        </pc:cxnChg>
      </pc:sldChg>
      <pc:sldChg chg="addSp delSp modSp">
        <pc:chgData name="河合 寿人(Hisato Kawai)" userId="S::j1933501@jera.co.jp::216780ff-c138-4097-8a2b-a6d3fac060ac" providerId="AD" clId="Web-{6A55D518-6097-67E1-6F6A-8B6A564EB161}" dt="2026-01-15T04:30:12.912" v="164"/>
        <pc:sldMkLst>
          <pc:docMk/>
          <pc:sldMk cId="706612286" sldId="2147479084"/>
        </pc:sldMkLst>
        <pc:grpChg chg="mod">
          <ac:chgData name="河合 寿人(Hisato Kawai)" userId="S::j1933501@jera.co.jp::216780ff-c138-4097-8a2b-a6d3fac060ac" providerId="AD" clId="Web-{6A55D518-6097-67E1-6F6A-8B6A564EB161}" dt="2026-01-15T04:14:32.219" v="139" actId="14100"/>
          <ac:grpSpMkLst>
            <pc:docMk/>
            <pc:sldMk cId="706612286" sldId="2147479084"/>
            <ac:grpSpMk id="7" creationId="{DBEB12F7-E122-F71F-D611-0A4EC498A81F}"/>
          </ac:grpSpMkLst>
        </pc:grpChg>
        <pc:picChg chg="add mod modCrop">
          <ac:chgData name="河合 寿人(Hisato Kawai)" userId="S::j1933501@jera.co.jp::216780ff-c138-4097-8a2b-a6d3fac060ac" providerId="AD" clId="Web-{6A55D518-6097-67E1-6F6A-8B6A564EB161}" dt="2026-01-15T04:29:49.912" v="163" actId="1076"/>
          <ac:picMkLst>
            <pc:docMk/>
            <pc:sldMk cId="706612286" sldId="2147479084"/>
            <ac:picMk id="11" creationId="{61BEB9A5-9A8C-B996-33E9-2F94CB07E1E6}"/>
          </ac:picMkLst>
        </pc:picChg>
      </pc:sldChg>
      <pc:sldChg chg="addSp delSp modSp">
        <pc:chgData name="河合 寿人(Hisato Kawai)" userId="S::j1933501@jera.co.jp::216780ff-c138-4097-8a2b-a6d3fac060ac" providerId="AD" clId="Web-{6A55D518-6097-67E1-6F6A-8B6A564EB161}" dt="2026-01-15T04:08:37.740" v="120"/>
        <pc:sldMkLst>
          <pc:docMk/>
          <pc:sldMk cId="3288807400" sldId="2147479085"/>
        </pc:sldMkLst>
        <pc:spChg chg="add del mod">
          <ac:chgData name="河合 寿人(Hisato Kawai)" userId="S::j1933501@jera.co.jp::216780ff-c138-4097-8a2b-a6d3fac060ac" providerId="AD" clId="Web-{6A55D518-6097-67E1-6F6A-8B6A564EB161}" dt="2026-01-15T02:55:01.349" v="29" actId="14100"/>
          <ac:spMkLst>
            <pc:docMk/>
            <pc:sldMk cId="3288807400" sldId="2147479085"/>
            <ac:spMk id="6" creationId="{8711DA24-3385-254B-256F-7D78C589DF61}"/>
          </ac:spMkLst>
        </pc:spChg>
        <pc:spChg chg="mod">
          <ac:chgData name="河合 寿人(Hisato Kawai)" userId="S::j1933501@jera.co.jp::216780ff-c138-4097-8a2b-a6d3fac060ac" providerId="AD" clId="Web-{6A55D518-6097-67E1-6F6A-8B6A564EB161}" dt="2026-01-15T02:55:53.867" v="30" actId="1076"/>
          <ac:spMkLst>
            <pc:docMk/>
            <pc:sldMk cId="3288807400" sldId="2147479085"/>
            <ac:spMk id="8" creationId="{932511F6-F787-8CDD-73E2-65B6D47A6C09}"/>
          </ac:spMkLst>
        </pc:spChg>
        <pc:grpChg chg="add del mod">
          <ac:chgData name="河合 寿人(Hisato Kawai)" userId="S::j1933501@jera.co.jp::216780ff-c138-4097-8a2b-a6d3fac060ac" providerId="AD" clId="Web-{6A55D518-6097-67E1-6F6A-8B6A564EB161}" dt="2026-01-15T02:54:27.848" v="25" actId="1076"/>
          <ac:grpSpMkLst>
            <pc:docMk/>
            <pc:sldMk cId="3288807400" sldId="2147479085"/>
            <ac:grpSpMk id="2" creationId="{31CD2A7F-307B-830A-2BFF-C446FE847EDC}"/>
          </ac:grpSpMkLst>
        </pc:grpChg>
        <pc:picChg chg="add mod ord">
          <ac:chgData name="河合 寿人(Hisato Kawai)" userId="S::j1933501@jera.co.jp::216780ff-c138-4097-8a2b-a6d3fac060ac" providerId="AD" clId="Web-{6A55D518-6097-67E1-6F6A-8B6A564EB161}" dt="2026-01-15T02:54:17.285" v="23"/>
          <ac:picMkLst>
            <pc:docMk/>
            <pc:sldMk cId="3288807400" sldId="2147479085"/>
            <ac:picMk id="9" creationId="{2C45D8AC-F83A-33FA-53F3-D7A8D5BA66CD}"/>
          </ac:picMkLst>
        </pc:picChg>
      </pc:sldChg>
      <pc:sldChg chg="addSp modSp">
        <pc:chgData name="河合 寿人(Hisato Kawai)" userId="S::j1933501@jera.co.jp::216780ff-c138-4097-8a2b-a6d3fac060ac" providerId="AD" clId="Web-{6A55D518-6097-67E1-6F6A-8B6A564EB161}" dt="2026-01-15T04:31:01.866" v="166" actId="1076"/>
        <pc:sldMkLst>
          <pc:docMk/>
          <pc:sldMk cId="1460803340" sldId="2147479086"/>
        </pc:sldMkLst>
      </pc:sldChg>
      <pc:sldChg chg="addSp delSp modSp">
        <pc:chgData name="河合 寿人(Hisato Kawai)" userId="S::j1933501@jera.co.jp::216780ff-c138-4097-8a2b-a6d3fac060ac" providerId="AD" clId="Web-{6A55D518-6097-67E1-6F6A-8B6A564EB161}" dt="2026-01-15T04:29:15.176" v="162"/>
        <pc:sldMkLst>
          <pc:docMk/>
          <pc:sldMk cId="1481187892" sldId="2147479088"/>
        </pc:sldMkLst>
        <pc:picChg chg="add mod">
          <ac:chgData name="河合 寿人(Hisato Kawai)" userId="S::j1933501@jera.co.jp::216780ff-c138-4097-8a2b-a6d3fac060ac" providerId="AD" clId="Web-{6A55D518-6097-67E1-6F6A-8B6A564EB161}" dt="2026-01-15T04:16:44.690" v="161" actId="1076"/>
          <ac:picMkLst>
            <pc:docMk/>
            <pc:sldMk cId="1481187892" sldId="2147479088"/>
            <ac:picMk id="6" creationId="{78511775-12C8-DF48-572A-66ABD2D61D01}"/>
          </ac:picMkLst>
        </pc:picChg>
      </pc:sldChg>
      <pc:sldChg chg="addSp delSp modSp">
        <pc:chgData name="河合 寿人(Hisato Kawai)" userId="S::j1933501@jera.co.jp::216780ff-c138-4097-8a2b-a6d3fac060ac" providerId="AD" clId="Web-{6A55D518-6097-67E1-6F6A-8B6A564EB161}" dt="2026-01-15T04:41:11.172" v="197"/>
        <pc:sldMkLst>
          <pc:docMk/>
          <pc:sldMk cId="162970789" sldId="2147479089"/>
        </pc:sldMkLst>
        <pc:picChg chg="add mod ord">
          <ac:chgData name="河合 寿人(Hisato Kawai)" userId="S::j1933501@jera.co.jp::216780ff-c138-4097-8a2b-a6d3fac060ac" providerId="AD" clId="Web-{6A55D518-6097-67E1-6F6A-8B6A564EB161}" dt="2026-01-15T04:41:09.766" v="196"/>
          <ac:picMkLst>
            <pc:docMk/>
            <pc:sldMk cId="162970789" sldId="2147479089"/>
            <ac:picMk id="5" creationId="{C7B8D1D9-AB3A-93AB-35D9-E1DC2F14443E}"/>
          </ac:picMkLst>
        </pc:picChg>
      </pc:sldChg>
      <pc:sldChg chg="addSp delSp modSp ord">
        <pc:chgData name="河合 寿人(Hisato Kawai)" userId="S::j1933501@jera.co.jp::216780ff-c138-4097-8a2b-a6d3fac060ac" providerId="AD" clId="Web-{6A55D518-6097-67E1-6F6A-8B6A564EB161}" dt="2026-01-15T08:58:14.862" v="301" actId="1076"/>
        <pc:sldMkLst>
          <pc:docMk/>
          <pc:sldMk cId="1839388361" sldId="2147479090"/>
        </pc:sldMkLst>
        <pc:spChg chg="mod">
          <ac:chgData name="河合 寿人(Hisato Kawai)" userId="S::j1933501@jera.co.jp::216780ff-c138-4097-8a2b-a6d3fac060ac" providerId="AD" clId="Web-{6A55D518-6097-67E1-6F6A-8B6A564EB161}" dt="2026-01-15T08:57:26.955" v="297" actId="20577"/>
          <ac:spMkLst>
            <pc:docMk/>
            <pc:sldMk cId="1839388361" sldId="2147479090"/>
            <ac:spMk id="3" creationId="{07F4F383-8076-7B4C-2AEB-0EEF90E876D9}"/>
          </ac:spMkLst>
        </pc:spChg>
      </pc:sldChg>
      <pc:sldChg chg="addSp delSp">
        <pc:chgData name="河合 寿人(Hisato Kawai)" userId="S::j1933501@jera.co.jp::216780ff-c138-4097-8a2b-a6d3fac060ac" providerId="AD" clId="Web-{6A55D518-6097-67E1-6F6A-8B6A564EB161}" dt="2026-01-15T08:52:38.733" v="264"/>
        <pc:sldMkLst>
          <pc:docMk/>
          <pc:sldMk cId="1824739902" sldId="2147479091"/>
        </pc:sldMkLst>
      </pc:sldChg>
      <pc:sldChg chg="modSp">
        <pc:chgData name="河合 寿人(Hisato Kawai)" userId="S::j1933501@jera.co.jp::216780ff-c138-4097-8a2b-a6d3fac060ac" providerId="AD" clId="Web-{6A55D518-6097-67E1-6F6A-8B6A564EB161}" dt="2026-01-15T04:48:21.201" v="211" actId="14100"/>
        <pc:sldMkLst>
          <pc:docMk/>
          <pc:sldMk cId="248592084" sldId="2147479103"/>
        </pc:sldMkLst>
      </pc:sldChg>
      <pc:sldChg chg="addSp modSp">
        <pc:chgData name="河合 寿人(Hisato Kawai)" userId="S::j1933501@jera.co.jp::216780ff-c138-4097-8a2b-a6d3fac060ac" providerId="AD" clId="Web-{6A55D518-6097-67E1-6F6A-8B6A564EB161}" dt="2026-01-15T06:11:19.829" v="213" actId="1076"/>
        <pc:sldMkLst>
          <pc:docMk/>
          <pc:sldMk cId="4175888678" sldId="2147479108"/>
        </pc:sldMkLst>
        <pc:picChg chg="add mod">
          <ac:chgData name="河合 寿人(Hisato Kawai)" userId="S::j1933501@jera.co.jp::216780ff-c138-4097-8a2b-a6d3fac060ac" providerId="AD" clId="Web-{6A55D518-6097-67E1-6F6A-8B6A564EB161}" dt="2026-01-15T06:11:19.829" v="213" actId="1076"/>
          <ac:picMkLst>
            <pc:docMk/>
            <pc:sldMk cId="4175888678" sldId="2147479108"/>
            <ac:picMk id="9" creationId="{0CD638D3-DE30-4E95-82DB-50FE7DD7C462}"/>
          </ac:picMkLst>
        </pc:picChg>
      </pc:sldChg>
      <pc:sldChg chg="ord">
        <pc:chgData name="河合 寿人(Hisato Kawai)" userId="S::j1933501@jera.co.jp::216780ff-c138-4097-8a2b-a6d3fac060ac" providerId="AD" clId="Web-{6A55D518-6097-67E1-6F6A-8B6A564EB161}" dt="2026-01-15T06:11:33.501" v="214"/>
        <pc:sldMkLst>
          <pc:docMk/>
          <pc:sldMk cId="423137518" sldId="2147479110"/>
        </pc:sldMkLst>
      </pc:sldChg>
      <pc:sldChg chg="addSp modSp">
        <pc:chgData name="河合 寿人(Hisato Kawai)" userId="S::j1933501@jera.co.jp::216780ff-c138-4097-8a2b-a6d3fac060ac" providerId="AD" clId="Web-{6A55D518-6097-67E1-6F6A-8B6A564EB161}" dt="2026-01-15T06:14:09.769" v="229" actId="1076"/>
        <pc:sldMkLst>
          <pc:docMk/>
          <pc:sldMk cId="1089113278" sldId="2147479119"/>
        </pc:sldMkLst>
        <pc:picChg chg="add mod">
          <ac:chgData name="河合 寿人(Hisato Kawai)" userId="S::j1933501@jera.co.jp::216780ff-c138-4097-8a2b-a6d3fac060ac" providerId="AD" clId="Web-{6A55D518-6097-67E1-6F6A-8B6A564EB161}" dt="2026-01-15T06:14:09.769" v="229" actId="1076"/>
          <ac:picMkLst>
            <pc:docMk/>
            <pc:sldMk cId="1089113278" sldId="2147479119"/>
            <ac:picMk id="4" creationId="{FAA64C0C-B062-2BAF-92C3-28B85259F368}"/>
          </ac:picMkLst>
        </pc:picChg>
      </pc:sldChg>
      <pc:sldChg chg="addSp delSp modSp">
        <pc:chgData name="河合 寿人(Hisato Kawai)" userId="S::j1933501@jera.co.jp::216780ff-c138-4097-8a2b-a6d3fac060ac" providerId="AD" clId="Web-{6A55D518-6097-67E1-6F6A-8B6A564EB161}" dt="2026-01-15T04:03:09.029" v="82" actId="14100"/>
        <pc:sldMkLst>
          <pc:docMk/>
          <pc:sldMk cId="2048572618" sldId="2147479122"/>
        </pc:sldMkLst>
        <pc:spChg chg="add mod">
          <ac:chgData name="河合 寿人(Hisato Kawai)" userId="S::j1933501@jera.co.jp::216780ff-c138-4097-8a2b-a6d3fac060ac" providerId="AD" clId="Web-{6A55D518-6097-67E1-6F6A-8B6A564EB161}" dt="2026-01-15T04:03:09.029" v="82" actId="14100"/>
          <ac:spMkLst>
            <pc:docMk/>
            <pc:sldMk cId="2048572618" sldId="2147479122"/>
            <ac:spMk id="8" creationId="{379EE636-3BE0-725F-D8D1-C106BE84C581}"/>
          </ac:spMkLst>
        </pc:spChg>
        <pc:picChg chg="add ord">
          <ac:chgData name="河合 寿人(Hisato Kawai)" userId="S::j1933501@jera.co.jp::216780ff-c138-4097-8a2b-a6d3fac060ac" providerId="AD" clId="Web-{6A55D518-6097-67E1-6F6A-8B6A564EB161}" dt="2026-01-15T04:02:50.763" v="74"/>
          <ac:picMkLst>
            <pc:docMk/>
            <pc:sldMk cId="2048572618" sldId="2147479122"/>
            <ac:picMk id="7" creationId="{92D3BD11-90C6-E267-F302-4E81F72B7336}"/>
          </ac:picMkLst>
        </pc:picChg>
      </pc:sldChg>
      <pc:sldChg chg="modSp">
        <pc:chgData name="河合 寿人(Hisato Kawai)" userId="S::j1933501@jera.co.jp::216780ff-c138-4097-8a2b-a6d3fac060ac" providerId="AD" clId="Web-{6A55D518-6097-67E1-6F6A-8B6A564EB161}" dt="2026-01-15T08:47:34.350" v="238" actId="20577"/>
        <pc:sldMkLst>
          <pc:docMk/>
          <pc:sldMk cId="2078337364" sldId="2147479123"/>
        </pc:sldMkLst>
        <pc:spChg chg="mod">
          <ac:chgData name="河合 寿人(Hisato Kawai)" userId="S::j1933501@jera.co.jp::216780ff-c138-4097-8a2b-a6d3fac060ac" providerId="AD" clId="Web-{6A55D518-6097-67E1-6F6A-8B6A564EB161}" dt="2026-01-15T08:47:34.350" v="238" actId="20577"/>
          <ac:spMkLst>
            <pc:docMk/>
            <pc:sldMk cId="2078337364" sldId="2147479123"/>
            <ac:spMk id="3" creationId="{07F4F383-8076-7B4C-2AEB-0EEF90E876D9}"/>
          </ac:spMkLst>
        </pc:spChg>
        <pc:grpChg chg="mod">
          <ac:chgData name="河合 寿人(Hisato Kawai)" userId="S::j1933501@jera.co.jp::216780ff-c138-4097-8a2b-a6d3fac060ac" providerId="AD" clId="Web-{6A55D518-6097-67E1-6F6A-8B6A564EB161}" dt="2026-01-15T03:59:12.588" v="41" actId="14100"/>
          <ac:grpSpMkLst>
            <pc:docMk/>
            <pc:sldMk cId="2078337364" sldId="2147479123"/>
            <ac:grpSpMk id="2" creationId="{B740BA6A-A2CF-0F5D-D5E9-B717EA294698}"/>
          </ac:grpSpMkLst>
        </pc:grpChg>
      </pc:sldChg>
      <pc:sldChg chg="addSp delSp modSp">
        <pc:chgData name="河合 寿人(Hisato Kawai)" userId="S::j1933501@jera.co.jp::216780ff-c138-4097-8a2b-a6d3fac060ac" providerId="AD" clId="Web-{6A55D518-6097-67E1-6F6A-8B6A564EB161}" dt="2026-01-15T04:02:38.060" v="72" actId="14100"/>
        <pc:sldMkLst>
          <pc:docMk/>
          <pc:sldMk cId="721337677" sldId="2147479124"/>
        </pc:sldMkLst>
        <pc:spChg chg="add mod">
          <ac:chgData name="河合 寿人(Hisato Kawai)" userId="S::j1933501@jera.co.jp::216780ff-c138-4097-8a2b-a6d3fac060ac" providerId="AD" clId="Web-{6A55D518-6097-67E1-6F6A-8B6A564EB161}" dt="2026-01-15T04:02:38.060" v="72" actId="14100"/>
          <ac:spMkLst>
            <pc:docMk/>
            <pc:sldMk cId="721337677" sldId="2147479124"/>
            <ac:spMk id="9" creationId="{379EE636-3BE0-725F-D8D1-C106BE84C581}"/>
          </ac:spMkLst>
        </pc:spChg>
        <pc:picChg chg="add del mod ord">
          <ac:chgData name="河合 寿人(Hisato Kawai)" userId="S::j1933501@jera.co.jp::216780ff-c138-4097-8a2b-a6d3fac060ac" providerId="AD" clId="Web-{6A55D518-6097-67E1-6F6A-8B6A564EB161}" dt="2026-01-15T04:02:22.435" v="66"/>
          <ac:picMkLst>
            <pc:docMk/>
            <pc:sldMk cId="721337677" sldId="2147479124"/>
            <ac:picMk id="7" creationId="{A8EE2B1C-BFEC-C97E-A70F-63148E23BEF9}"/>
          </ac:picMkLst>
        </pc:picChg>
      </pc:sldChg>
      <pc:sldChg chg="addSp delSp modSp">
        <pc:chgData name="河合 寿人(Hisato Kawai)" userId="S::j1933501@jera.co.jp::216780ff-c138-4097-8a2b-a6d3fac060ac" providerId="AD" clId="Web-{6A55D518-6097-67E1-6F6A-8B6A564EB161}" dt="2026-01-15T04:04:02.471" v="101" actId="14100"/>
        <pc:sldMkLst>
          <pc:docMk/>
          <pc:sldMk cId="1709121177" sldId="2147479125"/>
        </pc:sldMkLst>
        <pc:spChg chg="add mod">
          <ac:chgData name="河合 寿人(Hisato Kawai)" userId="S::j1933501@jera.co.jp::216780ff-c138-4097-8a2b-a6d3fac060ac" providerId="AD" clId="Web-{6A55D518-6097-67E1-6F6A-8B6A564EB161}" dt="2026-01-15T04:04:02.471" v="101" actId="14100"/>
          <ac:spMkLst>
            <pc:docMk/>
            <pc:sldMk cId="1709121177" sldId="2147479125"/>
            <ac:spMk id="10" creationId="{379EE636-3BE0-725F-D8D1-C106BE84C581}"/>
          </ac:spMkLst>
        </pc:spChg>
        <pc:picChg chg="add ord">
          <ac:chgData name="河合 寿人(Hisato Kawai)" userId="S::j1933501@jera.co.jp::216780ff-c138-4097-8a2b-a6d3fac060ac" providerId="AD" clId="Web-{6A55D518-6097-67E1-6F6A-8B6A564EB161}" dt="2026-01-15T04:03:44.766" v="94"/>
          <ac:picMkLst>
            <pc:docMk/>
            <pc:sldMk cId="1709121177" sldId="2147479125"/>
            <ac:picMk id="9" creationId="{7225AEB4-9AB6-8371-ACE3-D37905C6B408}"/>
          </ac:picMkLst>
        </pc:picChg>
      </pc:sldChg>
      <pc:sldChg chg="addSp modSp">
        <pc:chgData name="河合 寿人(Hisato Kawai)" userId="S::j1933501@jera.co.jp::216780ff-c138-4097-8a2b-a6d3fac060ac" providerId="AD" clId="Web-{6A55D518-6097-67E1-6F6A-8B6A564EB161}" dt="2026-01-15T06:12:04.705" v="217" actId="1076"/>
        <pc:sldMkLst>
          <pc:docMk/>
          <pc:sldMk cId="1620510566" sldId="2147479131"/>
        </pc:sldMkLst>
        <pc:picChg chg="add mod">
          <ac:chgData name="河合 寿人(Hisato Kawai)" userId="S::j1933501@jera.co.jp::216780ff-c138-4097-8a2b-a6d3fac060ac" providerId="AD" clId="Web-{6A55D518-6097-67E1-6F6A-8B6A564EB161}" dt="2026-01-15T06:12:04.705" v="217" actId="1076"/>
          <ac:picMkLst>
            <pc:docMk/>
            <pc:sldMk cId="1620510566" sldId="2147479131"/>
            <ac:picMk id="9" creationId="{92BAD389-6FB6-8C8C-DB18-CFC2DFD37DF0}"/>
          </ac:picMkLst>
        </pc:picChg>
      </pc:sldChg>
      <pc:sldChg chg="addSp modSp">
        <pc:chgData name="河合 寿人(Hisato Kawai)" userId="S::j1933501@jera.co.jp::216780ff-c138-4097-8a2b-a6d3fac060ac" providerId="AD" clId="Web-{6A55D518-6097-67E1-6F6A-8B6A564EB161}" dt="2026-01-15T06:12:34.627" v="220" actId="1076"/>
        <pc:sldMkLst>
          <pc:docMk/>
          <pc:sldMk cId="1295800102" sldId="2147479133"/>
        </pc:sldMkLst>
        <pc:picChg chg="add mod">
          <ac:chgData name="河合 寿人(Hisato Kawai)" userId="S::j1933501@jera.co.jp::216780ff-c138-4097-8a2b-a6d3fac060ac" providerId="AD" clId="Web-{6A55D518-6097-67E1-6F6A-8B6A564EB161}" dt="2026-01-15T06:12:34.627" v="220" actId="1076"/>
          <ac:picMkLst>
            <pc:docMk/>
            <pc:sldMk cId="1295800102" sldId="2147479133"/>
            <ac:picMk id="9" creationId="{D28F92DD-B0FD-DFBE-000C-0D282F1E8EEB}"/>
          </ac:picMkLst>
        </pc:picChg>
      </pc:sldChg>
      <pc:sldChg chg="addSp modSp">
        <pc:chgData name="河合 寿人(Hisato Kawai)" userId="S::j1933501@jera.co.jp::216780ff-c138-4097-8a2b-a6d3fac060ac" providerId="AD" clId="Web-{6A55D518-6097-67E1-6F6A-8B6A564EB161}" dt="2026-01-15T06:12:55.690" v="223" actId="1076"/>
        <pc:sldMkLst>
          <pc:docMk/>
          <pc:sldMk cId="2906973040" sldId="2147479135"/>
        </pc:sldMkLst>
        <pc:picChg chg="add mod">
          <ac:chgData name="河合 寿人(Hisato Kawai)" userId="S::j1933501@jera.co.jp::216780ff-c138-4097-8a2b-a6d3fac060ac" providerId="AD" clId="Web-{6A55D518-6097-67E1-6F6A-8B6A564EB161}" dt="2026-01-15T06:12:55.690" v="223" actId="1076"/>
          <ac:picMkLst>
            <pc:docMk/>
            <pc:sldMk cId="2906973040" sldId="2147479135"/>
            <ac:picMk id="10" creationId="{DCBC2CA9-05D2-AD87-7106-84B4DF3FD20E}"/>
          </ac:picMkLst>
        </pc:picChg>
      </pc:sldChg>
      <pc:sldChg chg="addSp modSp">
        <pc:chgData name="河合 寿人(Hisato Kawai)" userId="S::j1933501@jera.co.jp::216780ff-c138-4097-8a2b-a6d3fac060ac" providerId="AD" clId="Web-{6A55D518-6097-67E1-6F6A-8B6A564EB161}" dt="2026-01-15T06:13:49.362" v="226" actId="1076"/>
        <pc:sldMkLst>
          <pc:docMk/>
          <pc:sldMk cId="4081422095" sldId="2147479140"/>
        </pc:sldMkLst>
        <pc:picChg chg="add mod">
          <ac:chgData name="河合 寿人(Hisato Kawai)" userId="S::j1933501@jera.co.jp::216780ff-c138-4097-8a2b-a6d3fac060ac" providerId="AD" clId="Web-{6A55D518-6097-67E1-6F6A-8B6A564EB161}" dt="2026-01-15T06:13:49.362" v="226" actId="1076"/>
          <ac:picMkLst>
            <pc:docMk/>
            <pc:sldMk cId="4081422095" sldId="2147479140"/>
            <ac:picMk id="4" creationId="{A3BCFB17-57BD-D249-F28B-F2BFB544F472}"/>
          </ac:picMkLst>
        </pc:picChg>
      </pc:sldChg>
      <pc:sldChg chg="addSp delSp modSp">
        <pc:chgData name="河合 寿人(Hisato Kawai)" userId="S::j1933501@jera.co.jp::216780ff-c138-4097-8a2b-a6d3fac060ac" providerId="AD" clId="Web-{6A55D518-6097-67E1-6F6A-8B6A564EB161}" dt="2026-01-15T08:47:02.521" v="234" actId="20577"/>
        <pc:sldMkLst>
          <pc:docMk/>
          <pc:sldMk cId="1817999861" sldId="2147479145"/>
        </pc:sldMkLst>
        <pc:spChg chg="mod">
          <ac:chgData name="河合 寿人(Hisato Kawai)" userId="S::j1933501@jera.co.jp::216780ff-c138-4097-8a2b-a6d3fac060ac" providerId="AD" clId="Web-{6A55D518-6097-67E1-6F6A-8B6A564EB161}" dt="2026-01-15T08:47:02.521" v="234" actId="20577"/>
          <ac:spMkLst>
            <pc:docMk/>
            <pc:sldMk cId="1817999861" sldId="2147479145"/>
            <ac:spMk id="3" creationId="{7713D808-FC32-BB9E-7032-0A0A914D9AC2}"/>
          </ac:spMkLst>
        </pc:spChg>
        <pc:picChg chg="add mod ord">
          <ac:chgData name="河合 寿人(Hisato Kawai)" userId="S::j1933501@jera.co.jp::216780ff-c138-4097-8a2b-a6d3fac060ac" providerId="AD" clId="Web-{6A55D518-6097-67E1-6F6A-8B6A564EB161}" dt="2026-01-15T03:59:13.307" v="42" actId="1076"/>
          <ac:picMkLst>
            <pc:docMk/>
            <pc:sldMk cId="1817999861" sldId="2147479145"/>
            <ac:picMk id="4" creationId="{6596525D-CF86-AFFE-ABB0-2DAB5E0A1F9D}"/>
          </ac:picMkLst>
        </pc:picChg>
      </pc:sldChg>
      <pc:sldChg chg="addSp delSp modSp">
        <pc:chgData name="河合 寿人(Hisato Kawai)" userId="S::j1933501@jera.co.jp::216780ff-c138-4097-8a2b-a6d3fac060ac" providerId="AD" clId="Web-{6A55D518-6097-67E1-6F6A-8B6A564EB161}" dt="2026-01-15T08:48:45.728" v="244" actId="20577"/>
        <pc:sldMkLst>
          <pc:docMk/>
          <pc:sldMk cId="3311665854" sldId="2147479146"/>
        </pc:sldMkLst>
        <pc:spChg chg="mod">
          <ac:chgData name="河合 寿人(Hisato Kawai)" userId="S::j1933501@jera.co.jp::216780ff-c138-4097-8a2b-a6d3fac060ac" providerId="AD" clId="Web-{6A55D518-6097-67E1-6F6A-8B6A564EB161}" dt="2026-01-15T08:48:45.728" v="244" actId="20577"/>
          <ac:spMkLst>
            <pc:docMk/>
            <pc:sldMk cId="3311665854" sldId="2147479146"/>
            <ac:spMk id="3" creationId="{07F4F383-8076-7B4C-2AEB-0EEF90E876D9}"/>
          </ac:spMkLst>
        </pc:spChg>
        <pc:picChg chg="add mod modCrop">
          <ac:chgData name="河合 寿人(Hisato Kawai)" userId="S::j1933501@jera.co.jp::216780ff-c138-4097-8a2b-a6d3fac060ac" providerId="AD" clId="Web-{6A55D518-6097-67E1-6F6A-8B6A564EB161}" dt="2026-01-15T04:38:31.348" v="178" actId="1076"/>
          <ac:picMkLst>
            <pc:docMk/>
            <pc:sldMk cId="3311665854" sldId="2147479146"/>
            <ac:picMk id="6" creationId="{043D0B52-7E3B-D012-E7AB-FEF9463A5713}"/>
          </ac:picMkLst>
        </pc:picChg>
      </pc:sldChg>
      <pc:sldChg chg="modSp">
        <pc:chgData name="河合 寿人(Hisato Kawai)" userId="S::j1933501@jera.co.jp::216780ff-c138-4097-8a2b-a6d3fac060ac" providerId="AD" clId="Web-{6A55D518-6097-67E1-6F6A-8B6A564EB161}" dt="2026-01-15T04:48:10.123" v="210" actId="14100"/>
        <pc:sldMkLst>
          <pc:docMk/>
          <pc:sldMk cId="3216160323" sldId="2147479148"/>
        </pc:sldMkLst>
      </pc:sldChg>
      <pc:sldChg chg="addSp delSp modSp">
        <pc:chgData name="河合 寿人(Hisato Kawai)" userId="S::j1933501@jera.co.jp::216780ff-c138-4097-8a2b-a6d3fac060ac" providerId="AD" clId="Web-{6A55D518-6097-67E1-6F6A-8B6A564EB161}" dt="2026-01-15T09:08:15.152" v="350"/>
        <pc:sldMkLst>
          <pc:docMk/>
          <pc:sldMk cId="1807446600" sldId="2147479149"/>
        </pc:sldMkLst>
        <pc:spChg chg="mod">
          <ac:chgData name="河合 寿人(Hisato Kawai)" userId="S::j1933501@jera.co.jp::216780ff-c138-4097-8a2b-a6d3fac060ac" providerId="AD" clId="Web-{6A55D518-6097-67E1-6F6A-8B6A564EB161}" dt="2026-01-15T09:07:46.901" v="345" actId="20577"/>
          <ac:spMkLst>
            <pc:docMk/>
            <pc:sldMk cId="1807446600" sldId="2147479149"/>
            <ac:spMk id="3" creationId="{F05F9B66-8DAC-0875-EBBE-1DDB8C79461C}"/>
          </ac:spMkLst>
        </pc:spChg>
        <pc:picChg chg="add mod">
          <ac:chgData name="河合 寿人(Hisato Kawai)" userId="S::j1933501@jera.co.jp::216780ff-c138-4097-8a2b-a6d3fac060ac" providerId="AD" clId="Web-{6A55D518-6097-67E1-6F6A-8B6A564EB161}" dt="2026-01-15T09:06:32.337" v="316" actId="1076"/>
          <ac:picMkLst>
            <pc:docMk/>
            <pc:sldMk cId="1807446600" sldId="2147479149"/>
            <ac:picMk id="6" creationId="{88E2B2B5-A25C-42C0-AF4D-5232D522303E}"/>
          </ac:picMkLst>
        </pc:picChg>
        <pc:picChg chg="add mod">
          <ac:chgData name="河合 寿人(Hisato Kawai)" userId="S::j1933501@jera.co.jp::216780ff-c138-4097-8a2b-a6d3fac060ac" providerId="AD" clId="Web-{6A55D518-6097-67E1-6F6A-8B6A564EB161}" dt="2026-01-15T09:08:06.558" v="348" actId="1076"/>
          <ac:picMkLst>
            <pc:docMk/>
            <pc:sldMk cId="1807446600" sldId="2147479149"/>
            <ac:picMk id="8" creationId="{5B96B49C-4135-5CC3-C795-8A14E98F165A}"/>
          </ac:picMkLst>
        </pc:picChg>
      </pc:sldChg>
      <pc:sldChg chg="addSp delSp modSp add ord replId">
        <pc:chgData name="河合 寿人(Hisato Kawai)" userId="S::j1933501@jera.co.jp::216780ff-c138-4097-8a2b-a6d3fac060ac" providerId="AD" clId="Web-{6A55D518-6097-67E1-6F6A-8B6A564EB161}" dt="2026-01-15T08:56:26.189" v="287" actId="1076"/>
        <pc:sldMkLst>
          <pc:docMk/>
          <pc:sldMk cId="3955718194" sldId="2147479152"/>
        </pc:sldMkLst>
        <pc:spChg chg="mod">
          <ac:chgData name="河合 寿人(Hisato Kawai)" userId="S::j1933501@jera.co.jp::216780ff-c138-4097-8a2b-a6d3fac060ac" providerId="AD" clId="Web-{6A55D518-6097-67E1-6F6A-8B6A564EB161}" dt="2026-01-15T08:56:13.408" v="285" actId="20577"/>
          <ac:spMkLst>
            <pc:docMk/>
            <pc:sldMk cId="3955718194" sldId="2147479152"/>
            <ac:spMk id="8" creationId="{61CC15BA-13B7-4823-A5A3-D0B0C04BABB1}"/>
          </ac:spMkLst>
        </pc:spChg>
        <pc:picChg chg="add mod">
          <ac:chgData name="河合 寿人(Hisato Kawai)" userId="S::j1933501@jera.co.jp::216780ff-c138-4097-8a2b-a6d3fac060ac" providerId="AD" clId="Web-{6A55D518-6097-67E1-6F6A-8B6A564EB161}" dt="2026-01-15T08:55:51.486" v="281" actId="1076"/>
          <ac:picMkLst>
            <pc:docMk/>
            <pc:sldMk cId="3955718194" sldId="2147479152"/>
            <ac:picMk id="5" creationId="{2910F572-0215-33F5-6F3E-55034F828C5D}"/>
          </ac:picMkLst>
        </pc:picChg>
      </pc:sldChg>
      <pc:sldChg chg="addSp delSp modSp add replId">
        <pc:chgData name="河合 寿人(Hisato Kawai)" userId="S::j1933501@jera.co.jp::216780ff-c138-4097-8a2b-a6d3fac060ac" providerId="AD" clId="Web-{6A55D518-6097-67E1-6F6A-8B6A564EB161}" dt="2026-01-15T09:14:41.876" v="406" actId="20577"/>
        <pc:sldMkLst>
          <pc:docMk/>
          <pc:sldMk cId="4047438369" sldId="2147479153"/>
        </pc:sldMkLst>
        <pc:spChg chg="add mod">
          <ac:chgData name="河合 寿人(Hisato Kawai)" userId="S::j1933501@jera.co.jp::216780ff-c138-4097-8a2b-a6d3fac060ac" providerId="AD" clId="Web-{6A55D518-6097-67E1-6F6A-8B6A564EB161}" dt="2026-01-15T09:14:41.876" v="406" actId="20577"/>
          <ac:spMkLst>
            <pc:docMk/>
            <pc:sldMk cId="4047438369" sldId="2147479153"/>
            <ac:spMk id="7" creationId="{7109D713-46CE-88B3-3F33-DBD944A8509B}"/>
          </ac:spMkLst>
        </pc:spChg>
        <pc:picChg chg="add mod">
          <ac:chgData name="河合 寿人(Hisato Kawai)" userId="S::j1933501@jera.co.jp::216780ff-c138-4097-8a2b-a6d3fac060ac" providerId="AD" clId="Web-{6A55D518-6097-67E1-6F6A-8B6A564EB161}" dt="2026-01-15T09:13:34.750" v="398" actId="14100"/>
          <ac:picMkLst>
            <pc:docMk/>
            <pc:sldMk cId="4047438369" sldId="2147479153"/>
            <ac:picMk id="4" creationId="{955F171F-6B5E-1D65-D395-124D9136A15B}"/>
          </ac:picMkLst>
        </pc:picChg>
      </pc:sldChg>
      <pc:sldChg chg="addSp delSp modSp add replId">
        <pc:chgData name="河合 寿人(Hisato Kawai)" userId="S::j1933501@jera.co.jp::216780ff-c138-4097-8a2b-a6d3fac060ac" providerId="AD" clId="Web-{6A55D518-6097-67E1-6F6A-8B6A564EB161}" dt="2026-01-15T09:13:02.656" v="395" actId="14100"/>
        <pc:sldMkLst>
          <pc:docMk/>
          <pc:sldMk cId="1674409327" sldId="2147479156"/>
        </pc:sldMkLst>
        <pc:picChg chg="add mod">
          <ac:chgData name="河合 寿人(Hisato Kawai)" userId="S::j1933501@jera.co.jp::216780ff-c138-4097-8a2b-a6d3fac060ac" providerId="AD" clId="Web-{6A55D518-6097-67E1-6F6A-8B6A564EB161}" dt="2026-01-15T09:13:02.656" v="395" actId="14100"/>
          <ac:picMkLst>
            <pc:docMk/>
            <pc:sldMk cId="1674409327" sldId="2147479156"/>
            <ac:picMk id="5" creationId="{EB756AAB-56A6-BE4B-B52A-CD627C3BE171}"/>
          </ac:picMkLst>
        </pc:picChg>
      </pc:sldChg>
    </pc:docChg>
  </pc:docChgLst>
  <pc:docChgLst>
    <pc:chgData name="小野内 雄一(Yuichi Onouchi)" userId="25f26155-90d4-48cf-af53-6e500664977b" providerId="ADAL" clId="{FE4A4EE4-2F3A-4960-BB81-82A49D46E6B4}"/>
    <pc:docChg chg="undo redo custSel addSld delSld modSld sldOrd modSection">
      <pc:chgData name="小野内 雄一(Yuichi Onouchi)" userId="25f26155-90d4-48cf-af53-6e500664977b" providerId="ADAL" clId="{FE4A4EE4-2F3A-4960-BB81-82A49D46E6B4}" dt="2026-01-15T07:49:01.219" v="1768" actId="20577"/>
      <pc:docMkLst>
        <pc:docMk/>
      </pc:docMkLst>
      <pc:sldChg chg="addSp modSp mod">
        <pc:chgData name="小野内 雄一(Yuichi Onouchi)" userId="25f26155-90d4-48cf-af53-6e500664977b" providerId="ADAL" clId="{FE4A4EE4-2F3A-4960-BB81-82A49D46E6B4}" dt="2026-01-15T02:40:36.109" v="261" actId="14100"/>
        <pc:sldMkLst>
          <pc:docMk/>
          <pc:sldMk cId="3566103146" sldId="2147479056"/>
        </pc:sldMkLst>
        <pc:grpChg chg="mod">
          <ac:chgData name="小野内 雄一(Yuichi Onouchi)" userId="25f26155-90d4-48cf-af53-6e500664977b" providerId="ADAL" clId="{FE4A4EE4-2F3A-4960-BB81-82A49D46E6B4}" dt="2026-01-15T02:39:38.840" v="254" actId="1076"/>
          <ac:grpSpMkLst>
            <pc:docMk/>
            <pc:sldMk cId="3566103146" sldId="2147479056"/>
            <ac:grpSpMk id="2" creationId="{EADC524B-6764-2470-95F1-827A5AC80249}"/>
          </ac:grpSpMkLst>
        </pc:grpChg>
      </pc:sldChg>
      <pc:sldChg chg="addSp delSp modSp mod">
        <pc:chgData name="小野内 雄一(Yuichi Onouchi)" userId="25f26155-90d4-48cf-af53-6e500664977b" providerId="ADAL" clId="{FE4A4EE4-2F3A-4960-BB81-82A49D46E6B4}" dt="2026-01-15T02:42:50.583" v="324" actId="20577"/>
        <pc:sldMkLst>
          <pc:docMk/>
          <pc:sldMk cId="706612286" sldId="2147479084"/>
        </pc:sldMkLst>
        <pc:spChg chg="mod">
          <ac:chgData name="小野内 雄一(Yuichi Onouchi)" userId="25f26155-90d4-48cf-af53-6e500664977b" providerId="ADAL" clId="{FE4A4EE4-2F3A-4960-BB81-82A49D46E6B4}" dt="2026-01-15T02:41:54.080" v="291" actId="20577"/>
          <ac:spMkLst>
            <pc:docMk/>
            <pc:sldMk cId="706612286" sldId="2147479084"/>
            <ac:spMk id="3" creationId="{07F4F383-8076-7B4C-2AEB-0EEF90E876D9}"/>
          </ac:spMkLst>
        </pc:spChg>
        <pc:grpChg chg="add mod">
          <ac:chgData name="小野内 雄一(Yuichi Onouchi)" userId="25f26155-90d4-48cf-af53-6e500664977b" providerId="ADAL" clId="{FE4A4EE4-2F3A-4960-BB81-82A49D46E6B4}" dt="2026-01-15T02:41:17.308" v="277" actId="164"/>
          <ac:grpSpMkLst>
            <pc:docMk/>
            <pc:sldMk cId="706612286" sldId="2147479084"/>
            <ac:grpSpMk id="7" creationId="{DBEB12F7-E122-F71F-D611-0A4EC498A81F}"/>
          </ac:grpSpMkLst>
        </pc:grpChg>
        <pc:picChg chg="mod">
          <ac:chgData name="小野内 雄一(Yuichi Onouchi)" userId="25f26155-90d4-48cf-af53-6e500664977b" providerId="ADAL" clId="{FE4A4EE4-2F3A-4960-BB81-82A49D46E6B4}" dt="2026-01-15T02:41:17.308" v="277" actId="164"/>
          <ac:picMkLst>
            <pc:docMk/>
            <pc:sldMk cId="706612286" sldId="2147479084"/>
            <ac:picMk id="4" creationId="{C3C08C9A-A89B-18D1-0FE8-8909B0EEC7A7}"/>
          </ac:picMkLst>
        </pc:picChg>
        <pc:picChg chg="add mod modCrop">
          <ac:chgData name="小野内 雄一(Yuichi Onouchi)" userId="25f26155-90d4-48cf-af53-6e500664977b" providerId="ADAL" clId="{FE4A4EE4-2F3A-4960-BB81-82A49D46E6B4}" dt="2026-01-15T02:41:17.308" v="277" actId="164"/>
          <ac:picMkLst>
            <pc:docMk/>
            <pc:sldMk cId="706612286" sldId="2147479084"/>
            <ac:picMk id="6" creationId="{A9BAC608-CE82-310D-0482-CEF1CF5BB25B}"/>
          </ac:picMkLst>
        </pc:picChg>
      </pc:sldChg>
      <pc:sldChg chg="addSp modSp mod">
        <pc:chgData name="小野内 雄一(Yuichi Onouchi)" userId="25f26155-90d4-48cf-af53-6e500664977b" providerId="ADAL" clId="{FE4A4EE4-2F3A-4960-BB81-82A49D46E6B4}" dt="2026-01-15T02:37:47.685" v="202" actId="14100"/>
        <pc:sldMkLst>
          <pc:docMk/>
          <pc:sldMk cId="3288807400" sldId="2147479085"/>
        </pc:sldMkLst>
      </pc:sldChg>
      <pc:sldChg chg="modSp mod">
        <pc:chgData name="小野内 雄一(Yuichi Onouchi)" userId="25f26155-90d4-48cf-af53-6e500664977b" providerId="ADAL" clId="{FE4A4EE4-2F3A-4960-BB81-82A49D46E6B4}" dt="2026-01-15T02:44:31.826" v="326" actId="20577"/>
        <pc:sldMkLst>
          <pc:docMk/>
          <pc:sldMk cId="3101020995" sldId="2147479087"/>
        </pc:sldMkLst>
        <pc:spChg chg="mod">
          <ac:chgData name="小野内 雄一(Yuichi Onouchi)" userId="25f26155-90d4-48cf-af53-6e500664977b" providerId="ADAL" clId="{FE4A4EE4-2F3A-4960-BB81-82A49D46E6B4}" dt="2026-01-15T02:44:31.826" v="326" actId="20577"/>
          <ac:spMkLst>
            <pc:docMk/>
            <pc:sldMk cId="3101020995" sldId="2147479087"/>
            <ac:spMk id="3" creationId="{07F4F383-8076-7B4C-2AEB-0EEF90E876D9}"/>
          </ac:spMkLst>
        </pc:spChg>
      </pc:sldChg>
      <pc:sldChg chg="addSp modSp mod">
        <pc:chgData name="小野内 雄一(Yuichi Onouchi)" userId="25f26155-90d4-48cf-af53-6e500664977b" providerId="ADAL" clId="{FE4A4EE4-2F3A-4960-BB81-82A49D46E6B4}" dt="2026-01-15T02:45:15.638" v="341" actId="20577"/>
        <pc:sldMkLst>
          <pc:docMk/>
          <pc:sldMk cId="1481187892" sldId="2147479088"/>
        </pc:sldMkLst>
      </pc:sldChg>
      <pc:sldChg chg="addSp modSp mod">
        <pc:chgData name="小野内 雄一(Yuichi Onouchi)" userId="25f26155-90d4-48cf-af53-6e500664977b" providerId="ADAL" clId="{FE4A4EE4-2F3A-4960-BB81-82A49D46E6B4}" dt="2026-01-15T07:02:48.739" v="877" actId="20577"/>
        <pc:sldMkLst>
          <pc:docMk/>
          <pc:sldMk cId="3605034398" sldId="2147479097"/>
        </pc:sldMkLst>
      </pc:sldChg>
      <pc:sldChg chg="addSp modSp mod">
        <pc:chgData name="小野内 雄一(Yuichi Onouchi)" userId="25f26155-90d4-48cf-af53-6e500664977b" providerId="ADAL" clId="{FE4A4EE4-2F3A-4960-BB81-82A49D46E6B4}" dt="2026-01-15T07:38:38.899" v="1348" actId="20577"/>
        <pc:sldMkLst>
          <pc:docMk/>
          <pc:sldMk cId="2297124800" sldId="2147479099"/>
        </pc:sldMkLst>
      </pc:sldChg>
      <pc:sldChg chg="addSp modSp mod">
        <pc:chgData name="小野内 雄一(Yuichi Onouchi)" userId="25f26155-90d4-48cf-af53-6e500664977b" providerId="ADAL" clId="{FE4A4EE4-2F3A-4960-BB81-82A49D46E6B4}" dt="2026-01-15T07:39:25.629" v="1412" actId="20577"/>
        <pc:sldMkLst>
          <pc:docMk/>
          <pc:sldMk cId="111738857" sldId="2147479102"/>
        </pc:sldMkLst>
      </pc:sldChg>
      <pc:sldChg chg="addSp modSp mod">
        <pc:chgData name="小野内 雄一(Yuichi Onouchi)" userId="25f26155-90d4-48cf-af53-6e500664977b" providerId="ADAL" clId="{FE4A4EE4-2F3A-4960-BB81-82A49D46E6B4}" dt="2026-01-15T02:56:13.178" v="585" actId="20577"/>
        <pc:sldMkLst>
          <pc:docMk/>
          <pc:sldMk cId="248592084" sldId="2147479103"/>
        </pc:sldMkLst>
      </pc:sldChg>
      <pc:sldChg chg="addSp modSp mod">
        <pc:chgData name="小野内 雄一(Yuichi Onouchi)" userId="25f26155-90d4-48cf-af53-6e500664977b" providerId="ADAL" clId="{FE4A4EE4-2F3A-4960-BB81-82A49D46E6B4}" dt="2026-01-15T07:40:31.461" v="1435" actId="20577"/>
        <pc:sldMkLst>
          <pc:docMk/>
          <pc:sldMk cId="1835342526" sldId="2147479104"/>
        </pc:sldMkLst>
      </pc:sldChg>
      <pc:sldChg chg="addSp modSp mod">
        <pc:chgData name="小野内 雄一(Yuichi Onouchi)" userId="25f26155-90d4-48cf-af53-6e500664977b" providerId="ADAL" clId="{FE4A4EE4-2F3A-4960-BB81-82A49D46E6B4}" dt="2026-01-15T02:58:41.522" v="699" actId="14100"/>
        <pc:sldMkLst>
          <pc:docMk/>
          <pc:sldMk cId="3257566995" sldId="2147479105"/>
        </pc:sldMkLst>
      </pc:sldChg>
      <pc:sldChg chg="addSp modSp">
        <pc:chgData name="小野内 雄一(Yuichi Onouchi)" userId="25f26155-90d4-48cf-af53-6e500664977b" providerId="ADAL" clId="{FE4A4EE4-2F3A-4960-BB81-82A49D46E6B4}" dt="2026-01-15T04:16:01.150" v="700"/>
        <pc:sldMkLst>
          <pc:docMk/>
          <pc:sldMk cId="2719056372" sldId="2147479106"/>
        </pc:sldMkLst>
      </pc:sldChg>
      <pc:sldChg chg="addSp modSp mod">
        <pc:chgData name="小野内 雄一(Yuichi Onouchi)" userId="25f26155-90d4-48cf-af53-6e500664977b" providerId="ADAL" clId="{FE4A4EE4-2F3A-4960-BB81-82A49D46E6B4}" dt="2026-01-15T07:43:40.668" v="1445" actId="1076"/>
        <pc:sldMkLst>
          <pc:docMk/>
          <pc:sldMk cId="3195568512" sldId="2147479107"/>
        </pc:sldMkLst>
      </pc:sldChg>
      <pc:sldChg chg="addSp modSp">
        <pc:chgData name="小野内 雄一(Yuichi Onouchi)" userId="25f26155-90d4-48cf-af53-6e500664977b" providerId="ADAL" clId="{FE4A4EE4-2F3A-4960-BB81-82A49D46E6B4}" dt="2026-01-15T07:44:19.307" v="1446"/>
        <pc:sldMkLst>
          <pc:docMk/>
          <pc:sldMk cId="4175888678" sldId="2147479108"/>
        </pc:sldMkLst>
      </pc:sldChg>
      <pc:sldChg chg="addSp modSp mod">
        <pc:chgData name="小野内 雄一(Yuichi Onouchi)" userId="25f26155-90d4-48cf-af53-6e500664977b" providerId="ADAL" clId="{FE4A4EE4-2F3A-4960-BB81-82A49D46E6B4}" dt="2026-01-15T07:46:39.281" v="1571" actId="20577"/>
        <pc:sldMkLst>
          <pc:docMk/>
          <pc:sldMk cId="2930009164" sldId="2147479113"/>
        </pc:sldMkLst>
      </pc:sldChg>
      <pc:sldChg chg="addSp modSp mod">
        <pc:chgData name="小野内 雄一(Yuichi Onouchi)" userId="25f26155-90d4-48cf-af53-6e500664977b" providerId="ADAL" clId="{FE4A4EE4-2F3A-4960-BB81-82A49D46E6B4}" dt="2026-01-15T07:46:53.906" v="1596" actId="20577"/>
        <pc:sldMkLst>
          <pc:docMk/>
          <pc:sldMk cId="3959009829" sldId="2147479114"/>
        </pc:sldMkLst>
      </pc:sldChg>
      <pc:sldChg chg="addSp modSp mod">
        <pc:chgData name="小野内 雄一(Yuichi Onouchi)" userId="25f26155-90d4-48cf-af53-6e500664977b" providerId="ADAL" clId="{FE4A4EE4-2F3A-4960-BB81-82A49D46E6B4}" dt="2026-01-15T07:47:03.584" v="1608" actId="20577"/>
        <pc:sldMkLst>
          <pc:docMk/>
          <pc:sldMk cId="2095974163" sldId="2147479115"/>
        </pc:sldMkLst>
      </pc:sldChg>
      <pc:sldChg chg="addSp modSp mod">
        <pc:chgData name="小野内 雄一(Yuichi Onouchi)" userId="25f26155-90d4-48cf-af53-6e500664977b" providerId="ADAL" clId="{FE4A4EE4-2F3A-4960-BB81-82A49D46E6B4}" dt="2026-01-15T07:46:26.106" v="1557" actId="20577"/>
        <pc:sldMkLst>
          <pc:docMk/>
          <pc:sldMk cId="2067407462" sldId="2147479130"/>
        </pc:sldMkLst>
      </pc:sldChg>
      <pc:sldChg chg="addSp modSp mod">
        <pc:chgData name="小野内 雄一(Yuichi Onouchi)" userId="25f26155-90d4-48cf-af53-6e500664977b" providerId="ADAL" clId="{FE4A4EE4-2F3A-4960-BB81-82A49D46E6B4}" dt="2026-01-15T07:47:59.897" v="1640" actId="6549"/>
        <pc:sldMkLst>
          <pc:docMk/>
          <pc:sldMk cId="144175302" sldId="2147479137"/>
        </pc:sldMkLst>
      </pc:sldChg>
      <pc:sldChg chg="modSp new mod ord">
        <pc:chgData name="小野内 雄一(Yuichi Onouchi)" userId="25f26155-90d4-48cf-af53-6e500664977b" providerId="ADAL" clId="{FE4A4EE4-2F3A-4960-BB81-82A49D46E6B4}" dt="2026-01-15T02:37:26.073" v="140" actId="20577"/>
        <pc:sldMkLst>
          <pc:docMk/>
          <pc:sldMk cId="1817999861" sldId="2147479145"/>
        </pc:sldMkLst>
      </pc:sldChg>
      <pc:sldChg chg="addSp modSp add mod">
        <pc:chgData name="小野内 雄一(Yuichi Onouchi)" userId="25f26155-90d4-48cf-af53-6e500664977b" providerId="ADAL" clId="{FE4A4EE4-2F3A-4960-BB81-82A49D46E6B4}" dt="2026-01-15T02:46:47.153" v="414" actId="1076"/>
        <pc:sldMkLst>
          <pc:docMk/>
          <pc:sldMk cId="3311665854" sldId="2147479146"/>
        </pc:sldMkLst>
      </pc:sldChg>
      <pc:sldChg chg="addSp modSp add mod">
        <pc:chgData name="小野内 雄一(Yuichi Onouchi)" userId="25f26155-90d4-48cf-af53-6e500664977b" providerId="ADAL" clId="{FE4A4EE4-2F3A-4960-BB81-82A49D46E6B4}" dt="2026-01-15T02:55:54.486" v="539" actId="14100"/>
        <pc:sldMkLst>
          <pc:docMk/>
          <pc:sldMk cId="3216160323" sldId="2147479148"/>
        </pc:sldMkLst>
      </pc:sldChg>
      <pc:sldChg chg="modSp new mod">
        <pc:chgData name="小野内 雄一(Yuichi Onouchi)" userId="25f26155-90d4-48cf-af53-6e500664977b" providerId="ADAL" clId="{FE4A4EE4-2F3A-4960-BB81-82A49D46E6B4}" dt="2026-01-15T07:00:28.534" v="818" actId="20577"/>
        <pc:sldMkLst>
          <pc:docMk/>
          <pc:sldMk cId="1807446600" sldId="2147479149"/>
        </pc:sldMkLst>
      </pc:sldChg>
      <pc:sldChg chg="modSp new mod">
        <pc:chgData name="小野内 雄一(Yuichi Onouchi)" userId="25f26155-90d4-48cf-af53-6e500664977b" providerId="ADAL" clId="{FE4A4EE4-2F3A-4960-BB81-82A49D46E6B4}" dt="2026-01-15T07:49:01.219" v="1768" actId="20577"/>
        <pc:sldMkLst>
          <pc:docMk/>
          <pc:sldMk cId="1522812628" sldId="2147479151"/>
        </pc:sldMkLst>
      </pc:sldChg>
    </pc:docChg>
  </pc:docChgLst>
  <pc:docChgLst>
    <pc:chgData name="河合 寿人(Hisato Kawai)" userId="S::j1933501@jera.co.jp::216780ff-c138-4097-8a2b-a6d3fac060ac" providerId="AD" clId="Web-{33629A53-0AD7-F743-2A6A-FCC3F6D3191F}"/>
    <pc:docChg chg="modSld">
      <pc:chgData name="河合 寿人(Hisato Kawai)" userId="S::j1933501@jera.co.jp::216780ff-c138-4097-8a2b-a6d3fac060ac" providerId="AD" clId="Web-{33629A53-0AD7-F743-2A6A-FCC3F6D3191F}" dt="2026-01-16T02:34:59.149" v="123" actId="14100"/>
      <pc:docMkLst>
        <pc:docMk/>
      </pc:docMkLst>
      <pc:sldChg chg="delSp modSp">
        <pc:chgData name="河合 寿人(Hisato Kawai)" userId="S::j1933501@jera.co.jp::216780ff-c138-4097-8a2b-a6d3fac060ac" providerId="AD" clId="Web-{33629A53-0AD7-F743-2A6A-FCC3F6D3191F}" dt="2026-01-16T02:22:17.942" v="100"/>
        <pc:sldMkLst>
          <pc:docMk/>
          <pc:sldMk cId="3959009829" sldId="2147479114"/>
        </pc:sldMkLst>
        <pc:spChg chg="mod">
          <ac:chgData name="河合 寿人(Hisato Kawai)" userId="S::j1933501@jera.co.jp::216780ff-c138-4097-8a2b-a6d3fac060ac" providerId="AD" clId="Web-{33629A53-0AD7-F743-2A6A-FCC3F6D3191F}" dt="2026-01-16T02:22:13.614" v="98" actId="20577"/>
          <ac:spMkLst>
            <pc:docMk/>
            <pc:sldMk cId="3959009829" sldId="2147479114"/>
            <ac:spMk id="3" creationId="{07F4F383-8076-7B4C-2AEB-0EEF90E876D9}"/>
          </ac:spMkLst>
        </pc:spChg>
      </pc:sldChg>
      <pc:sldChg chg="addSp modSp">
        <pc:chgData name="河合 寿人(Hisato Kawai)" userId="S::j1933501@jera.co.jp::216780ff-c138-4097-8a2b-a6d3fac060ac" providerId="AD" clId="Web-{33629A53-0AD7-F743-2A6A-FCC3F6D3191F}" dt="2026-01-16T02:16:40.310" v="35" actId="1076"/>
        <pc:sldMkLst>
          <pc:docMk/>
          <pc:sldMk cId="1620510566" sldId="2147479131"/>
        </pc:sldMkLst>
        <pc:spChg chg="mod">
          <ac:chgData name="河合 寿人(Hisato Kawai)" userId="S::j1933501@jera.co.jp::216780ff-c138-4097-8a2b-a6d3fac060ac" providerId="AD" clId="Web-{33629A53-0AD7-F743-2A6A-FCC3F6D3191F}" dt="2026-01-16T02:04:35.838" v="2" actId="14100"/>
          <ac:spMkLst>
            <pc:docMk/>
            <pc:sldMk cId="1620510566" sldId="2147479131"/>
            <ac:spMk id="6" creationId="{DCD7BC47-5519-3A33-DD7A-DC88FEA11707}"/>
          </ac:spMkLst>
        </pc:spChg>
        <pc:spChg chg="mod">
          <ac:chgData name="河合 寿人(Hisato Kawai)" userId="S::j1933501@jera.co.jp::216780ff-c138-4097-8a2b-a6d3fac060ac" providerId="AD" clId="Web-{33629A53-0AD7-F743-2A6A-FCC3F6D3191F}" dt="2026-01-16T02:04:43.354" v="4" actId="14100"/>
          <ac:spMkLst>
            <pc:docMk/>
            <pc:sldMk cId="1620510566" sldId="2147479131"/>
            <ac:spMk id="7" creationId="{3165E80E-6BF6-A7DE-154F-E4F7FC8E69F8}"/>
          </ac:spMkLst>
        </pc:spChg>
        <pc:picChg chg="add mod">
          <ac:chgData name="河合 寿人(Hisato Kawai)" userId="S::j1933501@jera.co.jp::216780ff-c138-4097-8a2b-a6d3fac060ac" providerId="AD" clId="Web-{33629A53-0AD7-F743-2A6A-FCC3F6D3191F}" dt="2026-01-16T02:16:40.310" v="35" actId="1076"/>
          <ac:picMkLst>
            <pc:docMk/>
            <pc:sldMk cId="1620510566" sldId="2147479131"/>
            <ac:picMk id="4" creationId="{DAA246A6-CD12-A914-2D21-2EA70F827E6D}"/>
          </ac:picMkLst>
        </pc:picChg>
      </pc:sldChg>
      <pc:sldChg chg="addSp delSp modSp">
        <pc:chgData name="河合 寿人(Hisato Kawai)" userId="S::j1933501@jera.co.jp::216780ff-c138-4097-8a2b-a6d3fac060ac" providerId="AD" clId="Web-{33629A53-0AD7-F743-2A6A-FCC3F6D3191F}" dt="2026-01-16T02:20:27.799" v="86" actId="14100"/>
        <pc:sldMkLst>
          <pc:docMk/>
          <pc:sldMk cId="1295800102" sldId="2147479133"/>
        </pc:sldMkLst>
        <pc:spChg chg="add">
          <ac:chgData name="河合 寿人(Hisato Kawai)" userId="S::j1933501@jera.co.jp::216780ff-c138-4097-8a2b-a6d3fac060ac" providerId="AD" clId="Web-{33629A53-0AD7-F743-2A6A-FCC3F6D3191F}" dt="2026-01-16T02:19:50.799" v="69"/>
          <ac:spMkLst>
            <pc:docMk/>
            <pc:sldMk cId="1295800102" sldId="2147479133"/>
            <ac:spMk id="18" creationId="{563A595F-FB34-4248-09C7-527CC17F5653}"/>
          </ac:spMkLst>
        </pc:spChg>
        <pc:spChg chg="add mod">
          <ac:chgData name="河合 寿人(Hisato Kawai)" userId="S::j1933501@jera.co.jp::216780ff-c138-4097-8a2b-a6d3fac060ac" providerId="AD" clId="Web-{33629A53-0AD7-F743-2A6A-FCC3F6D3191F}" dt="2026-01-16T02:20:27.799" v="86" actId="14100"/>
          <ac:spMkLst>
            <pc:docMk/>
            <pc:sldMk cId="1295800102" sldId="2147479133"/>
            <ac:spMk id="19" creationId="{E3BD9E8B-CE9F-DFAF-5976-F1052E2D5275}"/>
          </ac:spMkLst>
        </pc:spChg>
        <pc:picChg chg="add mod ord modCrop">
          <ac:chgData name="河合 寿人(Hisato Kawai)" userId="S::j1933501@jera.co.jp::216780ff-c138-4097-8a2b-a6d3fac060ac" providerId="AD" clId="Web-{33629A53-0AD7-F743-2A6A-FCC3F6D3191F}" dt="2026-01-16T02:20:04.565" v="79" actId="14100"/>
          <ac:picMkLst>
            <pc:docMk/>
            <pc:sldMk cId="1295800102" sldId="2147479133"/>
            <ac:picMk id="10" creationId="{D576904D-94AB-8B6F-5806-16616C6CA852}"/>
          </ac:picMkLst>
        </pc:picChg>
        <pc:picChg chg="add mod modCrop">
          <ac:chgData name="河合 寿人(Hisato Kawai)" userId="S::j1933501@jera.co.jp::216780ff-c138-4097-8a2b-a6d3fac060ac" providerId="AD" clId="Web-{33629A53-0AD7-F743-2A6A-FCC3F6D3191F}" dt="2026-01-16T02:18:39.860" v="55"/>
          <ac:picMkLst>
            <pc:docMk/>
            <pc:sldMk cId="1295800102" sldId="2147479133"/>
            <ac:picMk id="16" creationId="{A272EB0F-53E9-F796-D663-A3C12EA401E4}"/>
          </ac:picMkLst>
        </pc:picChg>
        <pc:picChg chg="add mod ord modCrop">
          <ac:chgData name="河合 寿人(Hisato Kawai)" userId="S::j1933501@jera.co.jp::216780ff-c138-4097-8a2b-a6d3fac060ac" providerId="AD" clId="Web-{33629A53-0AD7-F743-2A6A-FCC3F6D3191F}" dt="2026-01-16T02:20:20.705" v="82" actId="1076"/>
          <ac:picMkLst>
            <pc:docMk/>
            <pc:sldMk cId="1295800102" sldId="2147479133"/>
            <ac:picMk id="17" creationId="{B81B6B1A-1D65-7F0A-0A2E-DEAB273420D5}"/>
          </ac:picMkLst>
        </pc:picChg>
      </pc:sldChg>
      <pc:sldChg chg="addSp delSp modSp">
        <pc:chgData name="河合 寿人(Hisato Kawai)" userId="S::j1933501@jera.co.jp::216780ff-c138-4097-8a2b-a6d3fac060ac" providerId="AD" clId="Web-{33629A53-0AD7-F743-2A6A-FCC3F6D3191F}" dt="2026-01-16T02:22:50.661" v="109" actId="14100"/>
        <pc:sldMkLst>
          <pc:docMk/>
          <pc:sldMk cId="2384989356" sldId="2147479134"/>
        </pc:sldMkLst>
        <pc:spChg chg="mod">
          <ac:chgData name="河合 寿人(Hisato Kawai)" userId="S::j1933501@jera.co.jp::216780ff-c138-4097-8a2b-a6d3fac060ac" providerId="AD" clId="Web-{33629A53-0AD7-F743-2A6A-FCC3F6D3191F}" dt="2026-01-16T02:15:18.245" v="29" actId="14100"/>
          <ac:spMkLst>
            <pc:docMk/>
            <pc:sldMk cId="2384989356" sldId="2147479134"/>
            <ac:spMk id="6" creationId="{56236543-08A6-A377-0444-65394A53FD61}"/>
          </ac:spMkLst>
        </pc:spChg>
        <pc:spChg chg="mod">
          <ac:chgData name="河合 寿人(Hisato Kawai)" userId="S::j1933501@jera.co.jp::216780ff-c138-4097-8a2b-a6d3fac060ac" providerId="AD" clId="Web-{33629A53-0AD7-F743-2A6A-FCC3F6D3191F}" dt="2026-01-16T02:21:57.754" v="95" actId="14100"/>
          <ac:spMkLst>
            <pc:docMk/>
            <pc:sldMk cId="2384989356" sldId="2147479134"/>
            <ac:spMk id="7" creationId="{711696BF-823F-623C-54FF-043D03AEA172}"/>
          </ac:spMkLst>
        </pc:spChg>
        <pc:spChg chg="mod">
          <ac:chgData name="河合 寿人(Hisato Kawai)" userId="S::j1933501@jera.co.jp::216780ff-c138-4097-8a2b-a6d3fac060ac" providerId="AD" clId="Web-{33629A53-0AD7-F743-2A6A-FCC3F6D3191F}" dt="2026-01-16T02:21:53.707" v="94" actId="14100"/>
          <ac:spMkLst>
            <pc:docMk/>
            <pc:sldMk cId="2384989356" sldId="2147479134"/>
            <ac:spMk id="8" creationId="{D70FBB6E-5EA0-05EF-EC44-5F7B7DFCCF8C}"/>
          </ac:spMkLst>
        </pc:spChg>
        <pc:grpChg chg="add del mod topLvl">
          <ac:chgData name="河合 寿人(Hisato Kawai)" userId="S::j1933501@jera.co.jp::216780ff-c138-4097-8a2b-a6d3fac060ac" providerId="AD" clId="Web-{33629A53-0AD7-F743-2A6A-FCC3F6D3191F}" dt="2026-01-16T02:21:35.191" v="88"/>
          <ac:grpSpMkLst>
            <pc:docMk/>
            <pc:sldMk cId="2384989356" sldId="2147479134"/>
            <ac:grpSpMk id="5" creationId="{67CCE373-780E-07D2-3D1A-A075A76930E2}"/>
          </ac:grpSpMkLst>
        </pc:grpChg>
        <pc:picChg chg="add mod ord">
          <ac:chgData name="河合 寿人(Hisato Kawai)" userId="S::j1933501@jera.co.jp::216780ff-c138-4097-8a2b-a6d3fac060ac" providerId="AD" clId="Web-{33629A53-0AD7-F743-2A6A-FCC3F6D3191F}" dt="2026-01-16T02:21:46.098" v="92" actId="1076"/>
          <ac:picMkLst>
            <pc:docMk/>
            <pc:sldMk cId="2384989356" sldId="2147479134"/>
            <ac:picMk id="10" creationId="{DBF884E0-AD6F-8053-EDFC-7C59C50DC6EB}"/>
          </ac:picMkLst>
        </pc:picChg>
        <pc:picChg chg="add mod">
          <ac:chgData name="河合 寿人(Hisato Kawai)" userId="S::j1933501@jera.co.jp::216780ff-c138-4097-8a2b-a6d3fac060ac" providerId="AD" clId="Web-{33629A53-0AD7-F743-2A6A-FCC3F6D3191F}" dt="2026-01-16T02:22:50.661" v="109" actId="14100"/>
          <ac:picMkLst>
            <pc:docMk/>
            <pc:sldMk cId="2384989356" sldId="2147479134"/>
            <ac:picMk id="13" creationId="{4FCB54AB-7F27-DEBE-013E-1330BA3506A1}"/>
          </ac:picMkLst>
        </pc:picChg>
      </pc:sldChg>
      <pc:sldChg chg="addSp delSp modSp">
        <pc:chgData name="河合 寿人(Hisato Kawai)" userId="S::j1933501@jera.co.jp::216780ff-c138-4097-8a2b-a6d3fac060ac" providerId="AD" clId="Web-{33629A53-0AD7-F743-2A6A-FCC3F6D3191F}" dt="2026-01-16T02:34:59.149" v="123" actId="14100"/>
        <pc:sldMkLst>
          <pc:docMk/>
          <pc:sldMk cId="2906973040" sldId="2147479135"/>
        </pc:sldMkLst>
        <pc:spChg chg="mod">
          <ac:chgData name="河合 寿人(Hisato Kawai)" userId="S::j1933501@jera.co.jp::216780ff-c138-4097-8a2b-a6d3fac060ac" providerId="AD" clId="Web-{33629A53-0AD7-F743-2A6A-FCC3F6D3191F}" dt="2026-01-16T02:34:45.524" v="119" actId="14100"/>
          <ac:spMkLst>
            <pc:docMk/>
            <pc:sldMk cId="2906973040" sldId="2147479135"/>
            <ac:spMk id="6" creationId="{5B8F63B1-FD3F-BF3E-C2EA-3F07AA43420F}"/>
          </ac:spMkLst>
        </pc:spChg>
        <pc:spChg chg="mod">
          <ac:chgData name="河合 寿人(Hisato Kawai)" userId="S::j1933501@jera.co.jp::216780ff-c138-4097-8a2b-a6d3fac060ac" providerId="AD" clId="Web-{33629A53-0AD7-F743-2A6A-FCC3F6D3191F}" dt="2026-01-16T02:34:52.774" v="121" actId="14100"/>
          <ac:spMkLst>
            <pc:docMk/>
            <pc:sldMk cId="2906973040" sldId="2147479135"/>
            <ac:spMk id="7" creationId="{1A73168D-AB11-0FD8-7C6F-2984E23EB2C3}"/>
          </ac:spMkLst>
        </pc:spChg>
        <pc:spChg chg="mod">
          <ac:chgData name="河合 寿人(Hisato Kawai)" userId="S::j1933501@jera.co.jp::216780ff-c138-4097-8a2b-a6d3fac060ac" providerId="AD" clId="Web-{33629A53-0AD7-F743-2A6A-FCC3F6D3191F}" dt="2026-01-16T02:34:59.149" v="123" actId="14100"/>
          <ac:spMkLst>
            <pc:docMk/>
            <pc:sldMk cId="2906973040" sldId="2147479135"/>
            <ac:spMk id="8" creationId="{93961E4B-9215-3D61-D323-2CE23F8399B9}"/>
          </ac:spMkLst>
        </pc:spChg>
        <pc:grpChg chg="mod topLvl">
          <ac:chgData name="河合 寿人(Hisato Kawai)" userId="S::j1933501@jera.co.jp::216780ff-c138-4097-8a2b-a6d3fac060ac" providerId="AD" clId="Web-{33629A53-0AD7-F743-2A6A-FCC3F6D3191F}" dt="2026-01-16T02:34:38.930" v="117" actId="1076"/>
          <ac:grpSpMkLst>
            <pc:docMk/>
            <pc:sldMk cId="2906973040" sldId="2147479135"/>
            <ac:grpSpMk id="5" creationId="{44211596-D008-427C-871C-3C1B4AC8008E}"/>
          </ac:grpSpMkLst>
        </pc:grpChg>
      </pc:sldChg>
    </pc:docChg>
  </pc:docChgLst>
  <pc:docChgLst>
    <pc:chgData name="浜崎 秀寿(Hidetoshi Hamazaki)" userId="S::j1921604@jera.co.jp::120c8faf-fa8a-4761-bc4a-d50492a02b99" providerId="AD" clId="Web-{7141CB6B-8CA8-80AC-6B84-864DD86B30F7}"/>
    <pc:docChg chg="modSld">
      <pc:chgData name="浜崎 秀寿(Hidetoshi Hamazaki)" userId="S::j1921604@jera.co.jp::120c8faf-fa8a-4761-bc4a-d50492a02b99" providerId="AD" clId="Web-{7141CB6B-8CA8-80AC-6B84-864DD86B30F7}" dt="2026-01-18T22:59:58.577" v="12" actId="20577"/>
      <pc:docMkLst>
        <pc:docMk/>
      </pc:docMkLst>
      <pc:sldChg chg="modSp">
        <pc:chgData name="浜崎 秀寿(Hidetoshi Hamazaki)" userId="S::j1921604@jera.co.jp::120c8faf-fa8a-4761-bc4a-d50492a02b99" providerId="AD" clId="Web-{7141CB6B-8CA8-80AC-6B84-864DD86B30F7}" dt="2026-01-18T22:59:58.577" v="12" actId="20577"/>
        <pc:sldMkLst>
          <pc:docMk/>
          <pc:sldMk cId="2878565672" sldId="2147479129"/>
        </pc:sldMkLst>
        <pc:spChg chg="mod">
          <ac:chgData name="浜崎 秀寿(Hidetoshi Hamazaki)" userId="S::j1921604@jera.co.jp::120c8faf-fa8a-4761-bc4a-d50492a02b99" providerId="AD" clId="Web-{7141CB6B-8CA8-80AC-6B84-864DD86B30F7}" dt="2026-01-18T22:59:58.577" v="12" actId="20577"/>
          <ac:spMkLst>
            <pc:docMk/>
            <pc:sldMk cId="2878565672" sldId="2147479129"/>
            <ac:spMk id="3" creationId="{07F4F383-8076-7B4C-2AEB-0EEF90E876D9}"/>
          </ac:spMkLst>
        </pc:spChg>
      </pc:sldChg>
    </pc:docChg>
  </pc:docChgLst>
  <pc:docChgLst>
    <pc:chgData name="河合 寿人(Hisato Kawai)" userId="S::j1933501@jera.co.jp::216780ff-c138-4097-8a2b-a6d3fac060ac" providerId="AD" clId="Web-{4769CA5A-2B7F-03B1-F165-14652C54B2A1}"/>
    <pc:docChg chg="modSld">
      <pc:chgData name="河合 寿人(Hisato Kawai)" userId="S::j1933501@jera.co.jp::216780ff-c138-4097-8a2b-a6d3fac060ac" providerId="AD" clId="Web-{4769CA5A-2B7F-03B1-F165-14652C54B2A1}" dt="2026-01-15T09:26:17.137" v="55"/>
      <pc:docMkLst>
        <pc:docMk/>
      </pc:docMkLst>
      <pc:sldChg chg="addSp delSp modSp">
        <pc:chgData name="河合 寿人(Hisato Kawai)" userId="S::j1933501@jera.co.jp::216780ff-c138-4097-8a2b-a6d3fac060ac" providerId="AD" clId="Web-{4769CA5A-2B7F-03B1-F165-14652C54B2A1}" dt="2026-01-15T09:18:18.413" v="30" actId="20577"/>
        <pc:sldMkLst>
          <pc:docMk/>
          <pc:sldMk cId="1575846944" sldId="2147479093"/>
        </pc:sldMkLst>
        <pc:spChg chg="mod">
          <ac:chgData name="河合 寿人(Hisato Kawai)" userId="S::j1933501@jera.co.jp::216780ff-c138-4097-8a2b-a6d3fac060ac" providerId="AD" clId="Web-{4769CA5A-2B7F-03B1-F165-14652C54B2A1}" dt="2026-01-15T09:18:18.413" v="30" actId="20577"/>
          <ac:spMkLst>
            <pc:docMk/>
            <pc:sldMk cId="1575846944" sldId="2147479093"/>
            <ac:spMk id="3" creationId="{07F4F383-8076-7B4C-2AEB-0EEF90E876D9}"/>
          </ac:spMkLst>
        </pc:spChg>
      </pc:sldChg>
      <pc:sldChg chg="addSp delSp modSp">
        <pc:chgData name="河合 寿人(Hisato Kawai)" userId="S::j1933501@jera.co.jp::216780ff-c138-4097-8a2b-a6d3fac060ac" providerId="AD" clId="Web-{4769CA5A-2B7F-03B1-F165-14652C54B2A1}" dt="2026-01-15T09:20:48.547" v="39"/>
        <pc:sldMkLst>
          <pc:docMk/>
          <pc:sldMk cId="3605034398" sldId="2147479097"/>
        </pc:sldMkLst>
        <pc:grpChg chg="add del mod">
          <ac:chgData name="河合 寿人(Hisato Kawai)" userId="S::j1933501@jera.co.jp::216780ff-c138-4097-8a2b-a6d3fac060ac" providerId="AD" clId="Web-{4769CA5A-2B7F-03B1-F165-14652C54B2A1}" dt="2026-01-15T09:20:44.875" v="38" actId="1076"/>
          <ac:grpSpMkLst>
            <pc:docMk/>
            <pc:sldMk cId="3605034398" sldId="2147479097"/>
            <ac:grpSpMk id="8" creationId="{D9CF861A-D2DD-C837-53E4-22AA434CB81D}"/>
          </ac:grpSpMkLst>
        </pc:grpChg>
        <pc:picChg chg="add mod ord">
          <ac:chgData name="河合 寿人(Hisato Kawai)" userId="S::j1933501@jera.co.jp::216780ff-c138-4097-8a2b-a6d3fac060ac" providerId="AD" clId="Web-{4769CA5A-2B7F-03B1-F165-14652C54B2A1}" dt="2026-01-15T09:20:38.891" v="36"/>
          <ac:picMkLst>
            <pc:docMk/>
            <pc:sldMk cId="3605034398" sldId="2147479097"/>
            <ac:picMk id="5" creationId="{343D40EF-2572-A30E-B41D-C7695451BBBD}"/>
          </ac:picMkLst>
        </pc:picChg>
      </pc:sldChg>
      <pc:sldChg chg="addSp delSp modSp">
        <pc:chgData name="河合 寿人(Hisato Kawai)" userId="S::j1933501@jera.co.jp::216780ff-c138-4097-8a2b-a6d3fac060ac" providerId="AD" clId="Web-{4769CA5A-2B7F-03B1-F165-14652C54B2A1}" dt="2026-01-15T09:24:39.337" v="49" actId="1076"/>
        <pc:sldMkLst>
          <pc:docMk/>
          <pc:sldMk cId="2297124800" sldId="2147479099"/>
        </pc:sldMkLst>
        <pc:spChg chg="mod">
          <ac:chgData name="河合 寿人(Hisato Kawai)" userId="S::j1933501@jera.co.jp::216780ff-c138-4097-8a2b-a6d3fac060ac" providerId="AD" clId="Web-{4769CA5A-2B7F-03B1-F165-14652C54B2A1}" dt="2026-01-15T09:24:34.400" v="48" actId="1076"/>
          <ac:spMkLst>
            <pc:docMk/>
            <pc:sldMk cId="2297124800" sldId="2147479099"/>
            <ac:spMk id="6" creationId="{311A5ECB-D9D8-A90C-C602-AF6EAC5BC2EE}"/>
          </ac:spMkLst>
        </pc:spChg>
        <pc:spChg chg="mod">
          <ac:chgData name="河合 寿人(Hisato Kawai)" userId="S::j1933501@jera.co.jp::216780ff-c138-4097-8a2b-a6d3fac060ac" providerId="AD" clId="Web-{4769CA5A-2B7F-03B1-F165-14652C54B2A1}" dt="2026-01-15T09:24:39.337" v="49" actId="1076"/>
          <ac:spMkLst>
            <pc:docMk/>
            <pc:sldMk cId="2297124800" sldId="2147479099"/>
            <ac:spMk id="7" creationId="{949534E2-F02C-1A84-677D-BB1712FFE4F9}"/>
          </ac:spMkLst>
        </pc:spChg>
        <pc:grpChg chg="topLvl">
          <ac:chgData name="河合 寿人(Hisato Kawai)" userId="S::j1933501@jera.co.jp::216780ff-c138-4097-8a2b-a6d3fac060ac" providerId="AD" clId="Web-{4769CA5A-2B7F-03B1-F165-14652C54B2A1}" dt="2026-01-15T09:24:25.353" v="46"/>
          <ac:grpSpMkLst>
            <pc:docMk/>
            <pc:sldMk cId="2297124800" sldId="2147479099"/>
            <ac:grpSpMk id="5" creationId="{1A16A288-B871-39AD-014A-99413E8345A2}"/>
          </ac:grpSpMkLst>
        </pc:grpChg>
        <pc:picChg chg="add mod ord">
          <ac:chgData name="河合 寿人(Hisato Kawai)" userId="S::j1933501@jera.co.jp::216780ff-c138-4097-8a2b-a6d3fac060ac" providerId="AD" clId="Web-{4769CA5A-2B7F-03B1-F165-14652C54B2A1}" dt="2026-01-15T09:24:29.087" v="47" actId="1076"/>
          <ac:picMkLst>
            <pc:docMk/>
            <pc:sldMk cId="2297124800" sldId="2147479099"/>
            <ac:picMk id="9" creationId="{D8E6A677-58FA-E31F-E9D5-AF5FBB341A48}"/>
          </ac:picMkLst>
        </pc:picChg>
      </pc:sldChg>
      <pc:sldChg chg="addSp delSp modSp">
        <pc:chgData name="河合 寿人(Hisato Kawai)" userId="S::j1933501@jera.co.jp::216780ff-c138-4097-8a2b-a6d3fac060ac" providerId="AD" clId="Web-{4769CA5A-2B7F-03B1-F165-14652C54B2A1}" dt="2026-01-15T09:16:19.029" v="15"/>
        <pc:sldMkLst>
          <pc:docMk/>
          <pc:sldMk cId="4047438369" sldId="2147479153"/>
        </pc:sldMkLst>
        <pc:spChg chg="mod">
          <ac:chgData name="河合 寿人(Hisato Kawai)" userId="S::j1933501@jera.co.jp::216780ff-c138-4097-8a2b-a6d3fac060ac" providerId="AD" clId="Web-{4769CA5A-2B7F-03B1-F165-14652C54B2A1}" dt="2026-01-15T09:16:05.951" v="12" actId="20577"/>
          <ac:spMkLst>
            <pc:docMk/>
            <pc:sldMk cId="4047438369" sldId="2147479153"/>
            <ac:spMk id="7" creationId="{7109D713-46CE-88B3-3F33-DBD944A8509B}"/>
          </ac:spMkLst>
        </pc:spChg>
      </pc:sldChg>
    </pc:docChg>
  </pc:docChgLst>
  <pc:docChgLst>
    <pc:chgData name="宮島 正宏(Masahiro Miyajima)" userId="6f75482e-d5f0-4de1-b2fa-419953a05505" providerId="ADAL" clId="{090D4C5C-BDCE-4CC6-82EE-177F2ADD6BB6}"/>
    <pc:docChg chg="modSld">
      <pc:chgData name="宮島 正宏(Masahiro Miyajima)" userId="6f75482e-d5f0-4de1-b2fa-419953a05505" providerId="ADAL" clId="{090D4C5C-BDCE-4CC6-82EE-177F2ADD6BB6}" dt="2026-01-15T23:54:45.727" v="55"/>
      <pc:docMkLst>
        <pc:docMk/>
      </pc:docMkLst>
      <pc:sldChg chg="modSp mod">
        <pc:chgData name="宮島 正宏(Masahiro Miyajima)" userId="6f75482e-d5f0-4de1-b2fa-419953a05505" providerId="ADAL" clId="{090D4C5C-BDCE-4CC6-82EE-177F2ADD6BB6}" dt="2026-01-15T23:43:03.745" v="0" actId="692"/>
        <pc:sldMkLst>
          <pc:docMk/>
          <pc:sldMk cId="3566103146" sldId="2147479056"/>
        </pc:sldMkLst>
        <pc:cxnChg chg="mod">
          <ac:chgData name="宮島 正宏(Masahiro Miyajima)" userId="6f75482e-d5f0-4de1-b2fa-419953a05505" providerId="ADAL" clId="{090D4C5C-BDCE-4CC6-82EE-177F2ADD6BB6}" dt="2026-01-15T23:43:03.745" v="0" actId="692"/>
          <ac:cxnSpMkLst>
            <pc:docMk/>
            <pc:sldMk cId="3566103146" sldId="2147479056"/>
            <ac:cxnSpMk id="9" creationId="{1E420A8C-9D4C-EE72-BC4A-29658E5E8F45}"/>
          </ac:cxnSpMkLst>
        </pc:cxnChg>
      </pc:sldChg>
      <pc:sldChg chg="modSp mod">
        <pc:chgData name="宮島 正宏(Masahiro Miyajima)" userId="6f75482e-d5f0-4de1-b2fa-419953a05505" providerId="ADAL" clId="{090D4C5C-BDCE-4CC6-82EE-177F2ADD6BB6}" dt="2026-01-15T23:48:28.728" v="29" actId="1035"/>
        <pc:sldMkLst>
          <pc:docMk/>
          <pc:sldMk cId="1824739902" sldId="2147479091"/>
        </pc:sldMkLst>
      </pc:sldChg>
      <pc:sldChg chg="modSp mod">
        <pc:chgData name="宮島 正宏(Masahiro Miyajima)" userId="6f75482e-d5f0-4de1-b2fa-419953a05505" providerId="ADAL" clId="{090D4C5C-BDCE-4CC6-82EE-177F2ADD6BB6}" dt="2026-01-15T23:54:01.034" v="41" actId="1038"/>
        <pc:sldMkLst>
          <pc:docMk/>
          <pc:sldMk cId="1807446600" sldId="2147479149"/>
        </pc:sldMkLst>
        <pc:picChg chg="mod">
          <ac:chgData name="宮島 正宏(Masahiro Miyajima)" userId="6f75482e-d5f0-4de1-b2fa-419953a05505" providerId="ADAL" clId="{090D4C5C-BDCE-4CC6-82EE-177F2ADD6BB6}" dt="2026-01-15T23:54:01.034" v="41" actId="1038"/>
          <ac:picMkLst>
            <pc:docMk/>
            <pc:sldMk cId="1807446600" sldId="2147479149"/>
            <ac:picMk id="8" creationId="{5B96B49C-4135-5CC3-C795-8A14E98F165A}"/>
          </ac:picMkLst>
        </pc:picChg>
      </pc:sldChg>
      <pc:sldChg chg="modSp mod">
        <pc:chgData name="宮島 正宏(Masahiro Miyajima)" userId="6f75482e-d5f0-4de1-b2fa-419953a05505" providerId="ADAL" clId="{090D4C5C-BDCE-4CC6-82EE-177F2ADD6BB6}" dt="2026-01-15T23:48:13.919" v="25" actId="1038"/>
        <pc:sldMkLst>
          <pc:docMk/>
          <pc:sldMk cId="3955718194" sldId="2147479152"/>
        </pc:sldMkLst>
      </pc:sldChg>
    </pc:docChg>
  </pc:docChgLst>
  <pc:docChgLst>
    <pc:chgData name="河合 寿人(Hisato Kawai)" userId="S::j1933501@jera.co.jp::216780ff-c138-4097-8a2b-a6d3fac060ac" providerId="AD" clId="Web-{15FB7A54-CC42-032A-8FA8-F4E71476C8E2}"/>
    <pc:docChg chg="addSld delSld modSld modSection">
      <pc:chgData name="河合 寿人(Hisato Kawai)" userId="S::j1933501@jera.co.jp::216780ff-c138-4097-8a2b-a6d3fac060ac" providerId="AD" clId="Web-{15FB7A54-CC42-032A-8FA8-F4E71476C8E2}" dt="2026-01-16T02:57:25.956" v="52" actId="14100"/>
      <pc:docMkLst>
        <pc:docMk/>
      </pc:docMkLst>
      <pc:sldChg chg="delSp modSp">
        <pc:chgData name="河合 寿人(Hisato Kawai)" userId="S::j1933501@jera.co.jp::216780ff-c138-4097-8a2b-a6d3fac060ac" providerId="AD" clId="Web-{15FB7A54-CC42-032A-8FA8-F4E71476C8E2}" dt="2026-01-16T02:40:13.884" v="1"/>
        <pc:sldMkLst>
          <pc:docMk/>
          <pc:sldMk cId="2095974163" sldId="2147479115"/>
        </pc:sldMkLst>
        <pc:spChg chg="mod">
          <ac:chgData name="河合 寿人(Hisato Kawai)" userId="S::j1933501@jera.co.jp::216780ff-c138-4097-8a2b-a6d3fac060ac" providerId="AD" clId="Web-{15FB7A54-CC42-032A-8FA8-F4E71476C8E2}" dt="2026-01-16T02:40:11.852" v="0" actId="20577"/>
          <ac:spMkLst>
            <pc:docMk/>
            <pc:sldMk cId="2095974163" sldId="2147479115"/>
            <ac:spMk id="3" creationId="{07F4F383-8076-7B4C-2AEB-0EEF90E876D9}"/>
          </ac:spMkLst>
        </pc:spChg>
      </pc:sldChg>
      <pc:sldChg chg="addSp modSp">
        <pc:chgData name="河合 寿人(Hisato Kawai)" userId="S::j1933501@jera.co.jp::216780ff-c138-4097-8a2b-a6d3fac060ac" providerId="AD" clId="Web-{15FB7A54-CC42-032A-8FA8-F4E71476C8E2}" dt="2026-01-16T02:51:19.310" v="9" actId="1076"/>
        <pc:sldMkLst>
          <pc:docMk/>
          <pc:sldMk cId="1341439208" sldId="2147479118"/>
        </pc:sldMkLst>
        <pc:picChg chg="add mod">
          <ac:chgData name="河合 寿人(Hisato Kawai)" userId="S::j1933501@jera.co.jp::216780ff-c138-4097-8a2b-a6d3fac060ac" providerId="AD" clId="Web-{15FB7A54-CC42-032A-8FA8-F4E71476C8E2}" dt="2026-01-16T02:51:19.310" v="9" actId="1076"/>
          <ac:picMkLst>
            <pc:docMk/>
            <pc:sldMk cId="1341439208" sldId="2147479118"/>
            <ac:picMk id="4" creationId="{97C3C629-91A6-343D-2504-2D6E54531D91}"/>
          </ac:picMkLst>
        </pc:picChg>
      </pc:sldChg>
      <pc:sldChg chg="addSp delSp">
        <pc:chgData name="河合 寿人(Hisato Kawai)" userId="S::j1933501@jera.co.jp::216780ff-c138-4097-8a2b-a6d3fac060ac" providerId="AD" clId="Web-{15FB7A54-CC42-032A-8FA8-F4E71476C8E2}" dt="2026-01-16T02:57:11.566" v="48"/>
        <pc:sldMkLst>
          <pc:docMk/>
          <pc:sldMk cId="1089113278" sldId="2147479119"/>
        </pc:sldMkLst>
        <pc:spChg chg="add del">
          <ac:chgData name="河合 寿人(Hisato Kawai)" userId="S::j1933501@jera.co.jp::216780ff-c138-4097-8a2b-a6d3fac060ac" providerId="AD" clId="Web-{15FB7A54-CC42-032A-8FA8-F4E71476C8E2}" dt="2026-01-16T02:57:11.566" v="48"/>
          <ac:spMkLst>
            <pc:docMk/>
            <pc:sldMk cId="1089113278" sldId="2147479119"/>
            <ac:spMk id="7" creationId="{D3B6C07B-0E30-3F1D-48D9-8A9C3CB076F4}"/>
          </ac:spMkLst>
        </pc:spChg>
      </pc:sldChg>
      <pc:sldChg chg="delSp modSp">
        <pc:chgData name="河合 寿人(Hisato Kawai)" userId="S::j1933501@jera.co.jp::216780ff-c138-4097-8a2b-a6d3fac060ac" providerId="AD" clId="Web-{15FB7A54-CC42-032A-8FA8-F4E71476C8E2}" dt="2026-01-16T02:50:52.388" v="6" actId="1076"/>
        <pc:sldMkLst>
          <pc:docMk/>
          <pc:sldMk cId="144175302" sldId="2147479137"/>
        </pc:sldMkLst>
        <pc:spChg chg="mod">
          <ac:chgData name="河合 寿人(Hisato Kawai)" userId="S::j1933501@jera.co.jp::216780ff-c138-4097-8a2b-a6d3fac060ac" providerId="AD" clId="Web-{15FB7A54-CC42-032A-8FA8-F4E71476C8E2}" dt="2026-01-16T02:45:35.752" v="3" actId="20577"/>
          <ac:spMkLst>
            <pc:docMk/>
            <pc:sldMk cId="144175302" sldId="2147479137"/>
            <ac:spMk id="3" creationId="{07F4F383-8076-7B4C-2AEB-0EEF90E876D9}"/>
          </ac:spMkLst>
        </pc:spChg>
        <pc:picChg chg="mod">
          <ac:chgData name="河合 寿人(Hisato Kawai)" userId="S::j1933501@jera.co.jp::216780ff-c138-4097-8a2b-a6d3fac060ac" providerId="AD" clId="Web-{15FB7A54-CC42-032A-8FA8-F4E71476C8E2}" dt="2026-01-16T02:50:52.388" v="6" actId="1076"/>
          <ac:picMkLst>
            <pc:docMk/>
            <pc:sldMk cId="144175302" sldId="2147479137"/>
            <ac:picMk id="5" creationId="{E1819411-FDD0-B144-65CD-AF24A9CBF183}"/>
          </ac:picMkLst>
        </pc:picChg>
      </pc:sldChg>
      <pc:sldChg chg="addSp delSp modSp">
        <pc:chgData name="河合 寿人(Hisato Kawai)" userId="S::j1933501@jera.co.jp::216780ff-c138-4097-8a2b-a6d3fac060ac" providerId="AD" clId="Web-{15FB7A54-CC42-032A-8FA8-F4E71476C8E2}" dt="2026-01-16T02:57:25.956" v="52" actId="14100"/>
        <pc:sldMkLst>
          <pc:docMk/>
          <pc:sldMk cId="3723388871" sldId="2147479142"/>
        </pc:sldMkLst>
        <pc:spChg chg="add mod">
          <ac:chgData name="河合 寿人(Hisato Kawai)" userId="S::j1933501@jera.co.jp::216780ff-c138-4097-8a2b-a6d3fac060ac" providerId="AD" clId="Web-{15FB7A54-CC42-032A-8FA8-F4E71476C8E2}" dt="2026-01-16T02:57:25.956" v="52" actId="14100"/>
          <ac:spMkLst>
            <pc:docMk/>
            <pc:sldMk cId="3723388871" sldId="2147479142"/>
            <ac:spMk id="10" creationId="{6E3E09BF-253B-40E8-63DF-6B194795913D}"/>
          </ac:spMkLst>
        </pc:spChg>
        <pc:picChg chg="add mod ord">
          <ac:chgData name="河合 寿人(Hisato Kawai)" userId="S::j1933501@jera.co.jp::216780ff-c138-4097-8a2b-a6d3fac060ac" providerId="AD" clId="Web-{15FB7A54-CC42-032A-8FA8-F4E71476C8E2}" dt="2026-01-16T02:56:37.003" v="42" actId="1076"/>
          <ac:picMkLst>
            <pc:docMk/>
            <pc:sldMk cId="3723388871" sldId="2147479142"/>
            <ac:picMk id="6" creationId="{C94562C6-571F-A2CB-CEB0-FBFCD9AAB344}"/>
          </ac:picMkLst>
        </pc:picChg>
      </pc:sldChg>
      <pc:sldChg chg="addSp delSp modSp">
        <pc:chgData name="河合 寿人(Hisato Kawai)" userId="S::j1933501@jera.co.jp::216780ff-c138-4097-8a2b-a6d3fac060ac" providerId="AD" clId="Web-{15FB7A54-CC42-032A-8FA8-F4E71476C8E2}" dt="2026-01-16T02:55:16.955" v="37" actId="14100"/>
        <pc:sldMkLst>
          <pc:docMk/>
          <pc:sldMk cId="1522812628" sldId="2147479151"/>
        </pc:sldMkLst>
        <pc:spChg chg="mod">
          <ac:chgData name="河合 寿人(Hisato Kawai)" userId="S::j1933501@jera.co.jp::216780ff-c138-4097-8a2b-a6d3fac060ac" providerId="AD" clId="Web-{15FB7A54-CC42-032A-8FA8-F4E71476C8E2}" dt="2026-01-16T02:53:40.735" v="18" actId="20577"/>
          <ac:spMkLst>
            <pc:docMk/>
            <pc:sldMk cId="1522812628" sldId="2147479151"/>
            <ac:spMk id="3" creationId="{8A04A774-D8FB-13E4-7439-7B04993F72C9}"/>
          </ac:spMkLst>
        </pc:spChg>
        <pc:spChg chg="add mod">
          <ac:chgData name="河合 寿人(Hisato Kawai)" userId="S::j1933501@jera.co.jp::216780ff-c138-4097-8a2b-a6d3fac060ac" providerId="AD" clId="Web-{15FB7A54-CC42-032A-8FA8-F4E71476C8E2}" dt="2026-01-16T02:55:16.955" v="37" actId="14100"/>
          <ac:spMkLst>
            <pc:docMk/>
            <pc:sldMk cId="1522812628" sldId="2147479151"/>
            <ac:spMk id="9" creationId="{D3B6C07B-0E30-3F1D-48D9-8A9C3CB076F4}"/>
          </ac:spMkLst>
        </pc:spChg>
        <pc:picChg chg="add mod">
          <ac:chgData name="河合 寿人(Hisato Kawai)" userId="S::j1933501@jera.co.jp::216780ff-c138-4097-8a2b-a6d3fac060ac" providerId="AD" clId="Web-{15FB7A54-CC42-032A-8FA8-F4E71476C8E2}" dt="2026-01-16T02:54:47.908" v="29" actId="1076"/>
          <ac:picMkLst>
            <pc:docMk/>
            <pc:sldMk cId="1522812628" sldId="2147479151"/>
            <ac:picMk id="7" creationId="{86C67679-EA4E-7B27-AA13-991C27EB61E4}"/>
          </ac:picMkLst>
        </pc:picChg>
      </pc:sldChg>
    </pc:docChg>
  </pc:docChgLst>
  <pc:docChgLst>
    <pc:chgData name="浜崎 秀寿(Hidetoshi Hamazaki)" userId="120c8faf-fa8a-4761-bc4a-d50492a02b99" providerId="ADAL" clId="{1C45FD5F-FF14-40AF-823B-A32844F71961}"/>
    <pc:docChg chg="undo custSel addSld delSld modSld modSection">
      <pc:chgData name="浜崎 秀寿(Hidetoshi Hamazaki)" userId="120c8faf-fa8a-4761-bc4a-d50492a02b99" providerId="ADAL" clId="{1C45FD5F-FF14-40AF-823B-A32844F71961}" dt="2026-01-18T23:08:37.884" v="50" actId="113"/>
      <pc:docMkLst>
        <pc:docMk/>
      </pc:docMkLst>
      <pc:sldChg chg="del">
        <pc:chgData name="浜崎 秀寿(Hidetoshi Hamazaki)" userId="120c8faf-fa8a-4761-bc4a-d50492a02b99" providerId="ADAL" clId="{1C45FD5F-FF14-40AF-823B-A32844F71961}" dt="2026-01-18T23:06:24.115" v="28" actId="47"/>
        <pc:sldMkLst>
          <pc:docMk/>
          <pc:sldMk cId="4275314645" sldId="2147479094"/>
        </pc:sldMkLst>
      </pc:sldChg>
      <pc:sldChg chg="addSp modSp mod">
        <pc:chgData name="浜崎 秀寿(Hidetoshi Hamazaki)" userId="120c8faf-fa8a-4761-bc4a-d50492a02b99" providerId="ADAL" clId="{1C45FD5F-FF14-40AF-823B-A32844F71961}" dt="2026-01-18T23:04:51.425" v="26" actId="14100"/>
        <pc:sldMkLst>
          <pc:docMk/>
          <pc:sldMk cId="2878565672" sldId="2147479129"/>
        </pc:sldMkLst>
        <pc:spChg chg="add mod">
          <ac:chgData name="浜崎 秀寿(Hidetoshi Hamazaki)" userId="120c8faf-fa8a-4761-bc4a-d50492a02b99" providerId="ADAL" clId="{1C45FD5F-FF14-40AF-823B-A32844F71961}" dt="2026-01-18T23:04:51.425" v="26" actId="14100"/>
          <ac:spMkLst>
            <pc:docMk/>
            <pc:sldMk cId="2878565672" sldId="2147479129"/>
            <ac:spMk id="6" creationId="{4FEA1C69-12E6-ED07-1EDD-1F727F24ECCB}"/>
          </ac:spMkLst>
        </pc:spChg>
      </pc:sldChg>
      <pc:sldChg chg="modSp add mod">
        <pc:chgData name="浜崎 秀寿(Hidetoshi Hamazaki)" userId="120c8faf-fa8a-4761-bc4a-d50492a02b99" providerId="ADAL" clId="{1C45FD5F-FF14-40AF-823B-A32844F71961}" dt="2026-01-18T23:08:37.884" v="50" actId="113"/>
        <pc:sldMkLst>
          <pc:docMk/>
          <pc:sldMk cId="2447147390" sldId="2147479157"/>
        </pc:sldMkLst>
        <pc:spChg chg="mod">
          <ac:chgData name="浜崎 秀寿(Hidetoshi Hamazaki)" userId="120c8faf-fa8a-4761-bc4a-d50492a02b99" providerId="ADAL" clId="{1C45FD5F-FF14-40AF-823B-A32844F71961}" dt="2026-01-18T23:07:48.473" v="43" actId="6549"/>
          <ac:spMkLst>
            <pc:docMk/>
            <pc:sldMk cId="2447147390" sldId="2147479157"/>
            <ac:spMk id="3" creationId="{07F4F383-8076-7B4C-2AEB-0EEF90E876D9}"/>
          </ac:spMkLst>
        </pc:spChg>
        <pc:spChg chg="mod">
          <ac:chgData name="浜崎 秀寿(Hidetoshi Hamazaki)" userId="120c8faf-fa8a-4761-bc4a-d50492a02b99" providerId="ADAL" clId="{1C45FD5F-FF14-40AF-823B-A32844F71961}" dt="2026-01-18T23:08:37.884" v="50" actId="113"/>
          <ac:spMkLst>
            <pc:docMk/>
            <pc:sldMk cId="2447147390" sldId="2147479157"/>
            <ac:spMk id="6" creationId="{4FEA1C69-12E6-ED07-1EDD-1F727F24ECCB}"/>
          </ac:spMkLst>
        </pc:spChg>
      </pc:sldChg>
    </pc:docChg>
  </pc:docChgLst>
</pc:chgInfo>
</file>

<file path=ppt/comments/modernComment_7FFFEE10_D48E6A6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85CDDB7-4723-4E5A-B6B7-4B96E396C2BC}" authorId="{3101C8CC-2D3B-190F-F625-A8C25B0C4020}" created="2026-01-15T04:06:55.094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566103146" sldId="2147479056"/>
      <ac:spMk id="8" creationId="{C614537B-CD20-F8FC-5D37-BE5C80E4A57D}"/>
      <ac:txMk cp="0" len="5">
        <ac:context len="6" hash="2818484686"/>
      </ac:txMk>
    </ac:txMkLst>
    <p188:pos x="1124857" y="266095"/>
    <p188:replyLst>
      <p188:reply id="{609D7408-AE70-4068-87FE-977D9447571F}" authorId="{840B1D75-6F10-AB84-1E38-E873252AC3E7}" created="2026-01-15T23:44:22.799">
        <p188:txBody>
          <a:bodyPr/>
          <a:lstStyle/>
          <a:p>
            <a:r>
              <a:rPr lang="ja-JP" altLang="en-US"/>
              <a:t>矢印の「矢」を大きくしました</a:t>
            </a:r>
          </a:p>
        </p188:txBody>
      </p188:reply>
    </p188:replyLst>
    <p188:txBody>
      <a:bodyPr/>
      <a:lstStyle/>
      <a:p>
        <a:r>
          <a:rPr lang="en-US"/>
          <a:t>アクティビティの追加の矢印を追加しました</a:t>
        </a:r>
      </a:p>
    </p188:txBody>
  </p188:cm>
</p188:cmLst>
</file>

<file path=ppt/comments/modernComment_7FFFEE2C_2A1E0C3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544464C-5CE5-4D04-A844-5E658D4AB797}" authorId="{3101C8CC-2D3B-190F-F625-A8C25B0C4020}" created="2026-01-15T04:30:41.257">
    <pc:sldMkLst xmlns:pc="http://schemas.microsoft.com/office/powerpoint/2013/main/command">
      <pc:docMk/>
      <pc:sldMk cId="706612286" sldId="2147479084"/>
    </pc:sldMkLst>
    <p188:txBody>
      <a:bodyPr/>
      <a:lstStyle/>
      <a:p>
        <a:r>
          <a:rPr lang="en-US"/>
          <a:t>+〇の上に大きめのアイコンスクショを被せました。</a:t>
        </a:r>
      </a:p>
    </p188:txBody>
  </p188:cm>
</p188:cmLst>
</file>

<file path=ppt/comments/modernComment_7FFFEE2D_C40737E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8542E54-8A56-4984-B7A4-458E24B38EF7}" authorId="{3101C8CC-2D3B-190F-F625-A8C25B0C4020}" created="2026-01-15T02:55:20.428">
    <pc:sldMkLst xmlns:pc="http://schemas.microsoft.com/office/powerpoint/2013/main/command">
      <pc:docMk/>
      <pc:sldMk cId="3288807400" sldId="2147479085"/>
    </pc:sldMkLst>
    <p188:txBody>
      <a:bodyPr/>
      <a:lstStyle/>
      <a:p>
        <a:r>
          <a:rPr lang="en-US"/>
          <a:t>スクショを(詳細オプション非表示)のものに​変更しました</a:t>
        </a:r>
      </a:p>
    </p188:txBody>
  </p188:cm>
</p188:cmLst>
</file>

<file path=ppt/comments/modernComment_7FFFEE2E_5712170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D9F25DB-D1DC-46FA-9B75-1C65128996E8}" authorId="{3101C8CC-2D3B-190F-F625-A8C25B0C4020}" created="2026-01-15T04:30:49.866">
    <pc:sldMkLst xmlns:pc="http://schemas.microsoft.com/office/powerpoint/2013/main/command">
      <pc:docMk/>
      <pc:sldMk cId="1460803340" sldId="2147479086"/>
    </pc:sldMkLst>
    <p188:txBody>
      <a:bodyPr/>
      <a:lstStyle/>
      <a:p>
        <a:r>
          <a:rPr lang="en-US"/>
          <a:t>+〇の上に大きめのアイコンスクショを被せました。</a:t>
        </a:r>
      </a:p>
    </p188:txBody>
  </p188:cm>
</p188:cmLst>
</file>

<file path=ppt/comments/modernComment_7FFFEE30_5849223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229CA52-E93D-419C-A9BB-EA25025FA67B}" authorId="{3101C8CC-2D3B-190F-F625-A8C25B0C4020}" created="2026-01-15T04:31:18.664">
    <pc:sldMkLst xmlns:pc="http://schemas.microsoft.com/office/powerpoint/2013/main/command">
      <pc:docMk/>
      <pc:sldMk cId="1481187892" sldId="2147479088"/>
    </pc:sldMkLst>
    <p188:txBody>
      <a:bodyPr/>
      <a:lstStyle/>
      <a:p>
        <a:r>
          <a:rPr lang="en-US"/>
          <a:t>+〇の上に大きめのアイコンスクショを被せました。</a:t>
        </a:r>
      </a:p>
    </p188:txBody>
  </p188:cm>
</p188:cmLst>
</file>

<file path=ppt/comments/modernComment_7FFFEE32_6DA2D6C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A4E7900-BBE1-4239-B694-6E77438C7AED}" authorId="{3101C8CC-2D3B-190F-F625-A8C25B0C4020}" created="2026-01-15T08:57:58.878">
    <pc:sldMkLst xmlns:pc="http://schemas.microsoft.com/office/powerpoint/2013/main/command">
      <pc:docMk/>
      <pc:sldMk cId="1839388361" sldId="2147479090"/>
    </pc:sldMkLst>
    <p188:txBody>
      <a:bodyPr/>
      <a:lstStyle/>
      <a:p>
        <a:r>
          <a:rPr lang="en-US"/>
          <a:t>【テキストビルダー】の入力画面スクショを追加しました</a:t>
        </a:r>
      </a:p>
    </p188:txBody>
  </p188:cm>
</p188:cmLst>
</file>

<file path=ppt/comments/modernComment_7FFFEE33_6CC3523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8B7C52E-7D2B-4254-A107-E1A886F64A08}" authorId="{3101C8CC-2D3B-190F-F625-A8C25B0C4020}" created="2026-01-15T08:52:32.342">
    <pc:sldMkLst xmlns:pc="http://schemas.microsoft.com/office/powerpoint/2013/main/command">
      <pc:docMk/>
      <pc:sldMk cId="1824739902" sldId="2147479091"/>
    </pc:sldMkLst>
    <p188:txBody>
      <a:bodyPr/>
      <a:lstStyle/>
      <a:p>
        <a:r>
          <a:rPr lang="ja-JP" altLang="en-US"/>
          <a:t>+〇の上に大きめのアイコンスクショを被せました。
【テキストビルダーを開く】のスクショを追加しました</a:t>
        </a:r>
      </a:p>
    </p188:txBody>
  </p188:cm>
</p188:cmLst>
</file>

<file path=ppt/comments/modernComment_7FFFEE34_D517A8F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BE8B752-696B-4F6E-ABB6-70EC65018CB8}" authorId="{3101C8CC-2D3B-190F-F625-A8C25B0C4020}" created="2026-01-19T04:58:09.845">
    <pc:sldMkLst xmlns:pc="http://schemas.microsoft.com/office/powerpoint/2013/main/command">
      <pc:docMk/>
      <pc:sldMk cId="3575097587" sldId="2147479092"/>
    </pc:sldMkLst>
    <p188:txBody>
      <a:bodyPr/>
      <a:lstStyle/>
      <a:p>
        <a:r>
          <a:rPr lang="ja-JP" altLang="en-US"/>
          <a:t> テキストビルダーのスクショを追加しました</a:t>
        </a:r>
      </a:p>
    </p188:txBody>
  </p188:cm>
</p188:cmLst>
</file>

<file path=ppt/comments/modernComment_7FFFEE35_5DED842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B972C55-87EB-4ECF-9AA7-9644E892FA5A}" authorId="{3101C8CC-2D3B-190F-F625-A8C25B0C4020}" created="2026-01-19T04:50:19.721">
    <pc:sldMkLst xmlns:pc="http://schemas.microsoft.com/office/powerpoint/2013/main/command">
      <pc:docMk/>
      <pc:sldMk cId="1575846944" sldId="2147479093"/>
    </pc:sldMkLst>
    <p188:txBody>
      <a:bodyPr/>
      <a:lstStyle/>
      <a:p>
        <a:r>
          <a:rPr lang="ja-JP" altLang="en-US"/>
          <a:t>スクショをテキストビルダーに開く方に変更しました。</a:t>
        </a:r>
      </a:p>
    </p188:txBody>
  </p188:cm>
</p188:cmLst>
</file>

<file path=ppt/comments/modernComment_7FFFEE3B_88EB57C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C178D06-ED3D-47C4-8F9D-339E0FCA7DA6}" authorId="{3101C8CC-2D3B-190F-F625-A8C25B0C4020}" created="2026-01-16T00:19:19.031">
    <pc:sldMkLst xmlns:pc="http://schemas.microsoft.com/office/powerpoint/2013/main/command">
      <pc:docMk/>
      <pc:sldMk cId="2297124800" sldId="2147479099"/>
    </pc:sldMkLst>
    <p188:txBody>
      <a:bodyPr/>
      <a:lstStyle/>
      <a:p>
        <a:r>
          <a:rPr lang="en-US"/>
          <a:t>data.xlsxがすでに選択されている =&gt; 未設定状態へスクショ差し替え​ました</a:t>
        </a:r>
      </a:p>
    </p188:txBody>
  </p188:cm>
</p188:cmLst>
</file>

<file path=ppt/comments/modernComment_7FFFEE3E_6A8FFE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C73914B-EAE7-4B17-88E1-DA9AFD87BF83}" authorId="{3101C8CC-2D3B-190F-F625-A8C25B0C4020}" created="2026-01-16T00:19:41.672">
    <pc:sldMkLst xmlns:pc="http://schemas.microsoft.com/office/powerpoint/2013/main/command">
      <pc:docMk/>
      <pc:sldMk cId="111738857" sldId="2147479102"/>
    </pc:sldMkLst>
    <p188:txBody>
      <a:bodyPr/>
      <a:lstStyle/>
      <a:p>
        <a:r>
          <a:rPr lang="en-US"/>
          <a:t>2.1.1.1になる？(Studio仕様？)  =&gt; StudioX版へスクショ差し替え​ました</a:t>
        </a:r>
      </a:p>
    </p188:txBody>
  </p188:cm>
</p188:cmLst>
</file>

<file path=ppt/comments/modernComment_7FFFEE3F_ED136D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DA2A378-1BBD-4969-AA66-1B2259077E96}" authorId="{3101C8CC-2D3B-190F-F625-A8C25B0C4020}" created="2026-01-16T00:28:02.130">
    <pc:sldMkLst xmlns:pc="http://schemas.microsoft.com/office/powerpoint/2013/main/command">
      <pc:docMk/>
      <pc:sldMk cId="248592084" sldId="2147479103"/>
    </pc:sldMkLst>
    <p188:txBody>
      <a:bodyPr/>
      <a:lstStyle/>
      <a:p>
        <a:r>
          <a:rPr lang="en-US"/>
          <a:t>Studio→StudioXにスクショを変更しました</a:t>
        </a:r>
      </a:p>
    </p188:txBody>
  </p188:cm>
</p188:cmLst>
</file>

<file path=ppt/comments/modernComment_7FFFEE40_6D651AB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D0F7BD2-7E6E-4F34-93F5-1DB3C4B4C004}" authorId="{3101C8CC-2D3B-190F-F625-A8C25B0C4020}" created="2026-01-16T00:30:44.122">
    <pc:sldMkLst xmlns:pc="http://schemas.microsoft.com/office/powerpoint/2013/main/command">
      <pc:docMk/>
      <pc:sldMk cId="1835342526" sldId="2147479104"/>
    </pc:sldMkLst>
    <p188:txBody>
      <a:bodyPr/>
      <a:lstStyle/>
      <a:p>
        <a:r>
          <a:rPr lang="en-US"/>
          <a:t>Studio→StudioXにスクショを変更しました</a:t>
        </a:r>
      </a:p>
    </p188:txBody>
  </p188:cm>
</p188:cmLst>
</file>

<file path=ppt/comments/modernComment_7FFFEE41_C22A871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8EB7253-D31C-4144-914E-3BD5704A47FA}" authorId="{3101C8CC-2D3B-190F-F625-A8C25B0C4020}" created="2026-01-16T00:41:32.415">
    <pc:sldMkLst xmlns:pc="http://schemas.microsoft.com/office/powerpoint/2013/main/command">
      <pc:docMk/>
      <pc:sldMk cId="3257566995" sldId="2147479105"/>
    </pc:sldMkLst>
    <p188:txBody>
      <a:bodyPr/>
      <a:lstStyle/>
      <a:p>
        <a:r>
          <a:rPr lang="en-US"/>
          <a:t>Studio→StudioXにスクショを変更しました</a:t>
        </a:r>
      </a:p>
    </p188:txBody>
  </p188:cm>
</p188:cmLst>
</file>

<file path=ppt/comments/modernComment_7FFFEE42_A21181F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A1104DA-D2BF-4406-AF51-B9FC5DFD9200}" authorId="{3101C8CC-2D3B-190F-F625-A8C25B0C4020}" created="2026-01-16T00:51:10.695">
    <pc:sldMkLst xmlns:pc="http://schemas.microsoft.com/office/powerpoint/2013/main/command">
      <pc:docMk/>
      <pc:sldMk cId="2719056372" sldId="2147479106"/>
    </pc:sldMkLst>
    <p188:txBody>
      <a:bodyPr/>
      <a:lstStyle/>
      <a:p>
        <a:r>
          <a:rPr lang="en-US"/>
          <a:t>Studio→StudioXにスクショを変更しました</a:t>
        </a:r>
      </a:p>
    </p188:txBody>
  </p188:cm>
</p188:cmLst>
</file>

<file path=ppt/comments/modernComment_7FFFEE43_BE78818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80A980F-2425-4508-8999-8CE5CDEAFA78}" authorId="{3101C8CC-2D3B-190F-F625-A8C25B0C4020}" created="2026-01-16T00:53:52.526">
    <pc:sldMkLst xmlns:pc="http://schemas.microsoft.com/office/powerpoint/2013/main/command">
      <pc:docMk/>
      <pc:sldMk cId="3195568512" sldId="2147479107"/>
    </pc:sldMkLst>
    <p188:txBody>
      <a:bodyPr/>
      <a:lstStyle/>
      <a:p>
        <a:r>
          <a:rPr lang="en-US"/>
          <a:t>Studio→StudioXにスクショを変更しました</a:t>
        </a:r>
      </a:p>
    </p188:txBody>
  </p188:cm>
</p188:cmLst>
</file>

<file path=ppt/comments/modernComment_7FFFEE44_F8E7012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18172BA-DDE7-4FB0-AD6F-BC1040861610}" authorId="{3101C8CC-2D3B-190F-F625-A8C25B0C4020}" created="2026-01-16T01:15:35.782">
    <pc:sldMkLst xmlns:pc="http://schemas.microsoft.com/office/powerpoint/2013/main/command">
      <pc:docMk/>
      <pc:sldMk cId="4175888678" sldId="2147479108"/>
    </pc:sldMkLst>
    <p188:txBody>
      <a:bodyPr/>
      <a:lstStyle/>
      <a:p>
        <a:r>
          <a:rPr lang="en-US"/>
          <a:t>Studio→StudioXにスクショを変更しました</a:t>
        </a:r>
      </a:p>
    </p188:txBody>
  </p188:cm>
</p188:cmLst>
</file>

<file path=ppt/comments/modernComment_7FFFEE52_7A1ABCC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C2AAD4E-0E06-4276-A0FF-CA39DF0D873A}" authorId="{3101C8CC-2D3B-190F-F625-A8C25B0C4020}" created="2026-01-15T04:08:50.287">
    <pc:sldMkLst xmlns:pc="http://schemas.microsoft.com/office/powerpoint/2013/main/command">
      <pc:docMk/>
      <pc:sldMk cId="2048572618" sldId="2147479122"/>
    </pc:sldMkLst>
    <p188:txBody>
      <a:bodyPr/>
      <a:lstStyle/>
      <a:p>
        <a:r>
          <a:rPr lang="en-US"/>
          <a:t>プロパティ画面が非表示の状態に変更しました</a:t>
        </a:r>
      </a:p>
    </p188:txBody>
  </p188:cm>
</p188:cmLst>
</file>

<file path=ppt/comments/modernComment_7FFFEE54_2AFEBD4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9CCA782-2FBC-4797-BB86-9BE1B8407901}" authorId="{3101C8CC-2D3B-190F-F625-A8C25B0C4020}" created="2026-01-15T04:05:08.430">
    <pc:sldMkLst xmlns:pc="http://schemas.microsoft.com/office/powerpoint/2013/main/command">
      <pc:docMk/>
      <pc:sldMk cId="721337677" sldId="2147479124"/>
    </pc:sldMkLst>
    <p188:txBody>
      <a:bodyPr/>
      <a:lstStyle/>
      <a:p>
        <a:r>
          <a:rPr lang="en-US"/>
          <a:t>プロパティ画面が非表示の状態に変更しました</a:t>
        </a:r>
      </a:p>
    </p188:txBody>
  </p188:cm>
</p188:cmLst>
</file>

<file path=ppt/comments/modernComment_7FFFEE55_65DF1E9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FCDF621-D274-468E-BB00-4C98BEB4457C}" authorId="{3101C8CC-2D3B-190F-F625-A8C25B0C4020}" created="2026-01-15T04:08:53.256">
    <pc:sldMkLst xmlns:pc="http://schemas.microsoft.com/office/powerpoint/2013/main/command">
      <pc:docMk/>
      <pc:sldMk cId="1709121177" sldId="2147479125"/>
    </pc:sldMkLst>
    <p188:txBody>
      <a:bodyPr/>
      <a:lstStyle/>
      <a:p>
        <a:r>
          <a:rPr lang="en-US"/>
          <a:t>プロパティ画面が非表示の状態に変更しました</a:t>
        </a:r>
      </a:p>
    </p188:txBody>
  </p188:cm>
</p188:cmLst>
</file>

<file path=ppt/comments/modernComment_7FFFEE5A_7B3A226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551A52A-3DAE-4EAC-9937-6165E5C01E6B}" authorId="{3101C8CC-2D3B-190F-F625-A8C25B0C4020}" created="2026-01-16T01:22:58.569">
    <pc:sldMkLst xmlns:pc="http://schemas.microsoft.com/office/powerpoint/2013/main/command">
      <pc:docMk/>
      <pc:sldMk cId="2067407462" sldId="2147479130"/>
    </pc:sldMkLst>
    <p188:txBody>
      <a:bodyPr/>
      <a:lstStyle/>
      <a:p>
        <a:r>
          <a:rPr lang="en-US"/>
          <a:t>ターゲットの内容を修正しました。</a:t>
        </a:r>
      </a:p>
    </p188:txBody>
  </p188:cm>
</p188:cmLst>
</file>

<file path=ppt/comments/modernComment_7FFFEE5B_6097076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DE46EF1-8A23-4D83-8A4B-BEEF92F3DFDA}" authorId="{3101C8CC-2D3B-190F-F625-A8C25B0C4020}" created="2026-01-16T01:37:27.443">
    <pc:sldMkLst xmlns:pc="http://schemas.microsoft.com/office/powerpoint/2013/main/command">
      <pc:docMk/>
      <pc:sldMk cId="1620510566" sldId="2147479131"/>
    </pc:sldMkLst>
    <p188:txBody>
      <a:bodyPr/>
      <a:lstStyle/>
      <a:p>
        <a:r>
          <a:rPr lang="en-US"/>
          <a:t>スクリーンショット画面をStudioXに変更しました。</a:t>
        </a:r>
      </a:p>
    </p188:txBody>
  </p188:cm>
</p188:cmLst>
</file>

<file path=ppt/comments/modernComment_7FFFEE5D_4D3C572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742C20E-809B-43DD-A683-83D64314E59F}" authorId="{3101C8CC-2D3B-190F-F625-A8C25B0C4020}" created="2026-01-16T02:40:32.071">
    <pc:sldMkLst xmlns:pc="http://schemas.microsoft.com/office/powerpoint/2013/main/command">
      <pc:docMk/>
      <pc:sldMk cId="1295800102" sldId="2147479133"/>
    </pc:sldMkLst>
    <p188:txBody>
      <a:bodyPr/>
      <a:lstStyle/>
      <a:p>
        <a:r>
          <a:rPr lang="en-US"/>
          <a:t>スクリーンショット画面をStudioXに変更しました。</a:t>
        </a:r>
      </a:p>
    </p188:txBody>
  </p188:cm>
</p188:cmLst>
</file>

<file path=ppt/comments/modernComment_7FFFEE5E_8E280CA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667277B-F92F-4F77-BDA9-7B7EA00D3CAF}" authorId="{3101C8CC-2D3B-190F-F625-A8C25B0C4020}" created="2026-01-16T02:40:40.946">
    <pc:sldMkLst xmlns:pc="http://schemas.microsoft.com/office/powerpoint/2013/main/command">
      <pc:docMk/>
      <pc:sldMk cId="2384989356" sldId="2147479134"/>
    </pc:sldMkLst>
    <p188:txBody>
      <a:bodyPr/>
      <a:lstStyle/>
      <a:p>
        <a:r>
          <a:rPr lang="en-US"/>
          <a:t>スクリーンショット画面をStudioXに変更しました。</a:t>
        </a:r>
      </a:p>
    </p188:txBody>
  </p188:cm>
</p188:cmLst>
</file>

<file path=ppt/comments/modernComment_7FFFEE5F_AD44E37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05E3C76-3974-49AD-B57C-F67C70718D02}" authorId="{3101C8CC-2D3B-190F-F625-A8C25B0C4020}" created="2026-01-16T02:40:47.681">
    <pc:sldMkLst xmlns:pc="http://schemas.microsoft.com/office/powerpoint/2013/main/command">
      <pc:docMk/>
      <pc:sldMk cId="2906973040" sldId="2147479135"/>
    </pc:sldMkLst>
    <p188:txBody>
      <a:bodyPr/>
      <a:lstStyle/>
      <a:p>
        <a:r>
          <a:rPr lang="en-US"/>
          <a:t>スクリーンショット画面をStudioXに変更しました。</a:t>
        </a:r>
      </a:p>
    </p188:txBody>
  </p188:cm>
</p188:cmLst>
</file>

<file path=ppt/comments/modernComment_7FFFEE60_79DC365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BA6BC93-7EE0-48C6-9ACB-13BA634D3E30}" authorId="{3101C8CC-2D3B-190F-F625-A8C25B0C4020}" created="2026-01-16T02:40:55.978">
    <pc:sldMkLst xmlns:pc="http://schemas.microsoft.com/office/powerpoint/2013/main/command">
      <pc:docMk/>
      <pc:sldMk cId="2044474963" sldId="2147479136"/>
    </pc:sldMkLst>
    <p188:txBody>
      <a:bodyPr/>
      <a:lstStyle/>
      <a:p>
        <a:r>
          <a:rPr lang="en-US"/>
          <a:t>スクリーンショット画面をStudioXに変更しました。</a:t>
        </a:r>
      </a:p>
    </p188:txBody>
  </p188:cm>
</p188:cmLst>
</file>

<file path=ppt/comments/modernComment_7FFFEE61_897F0C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6759294-2EBB-4DB3-B000-EBC79E9C1A4F}" authorId="{3101C8CC-2D3B-190F-F625-A8C25B0C4020}" created="2026-01-16T02:55:37.533">
    <pc:sldMkLst xmlns:pc="http://schemas.microsoft.com/office/powerpoint/2013/main/command">
      <pc:docMk/>
      <pc:sldMk cId="144175302" sldId="2147479137"/>
    </pc:sldMkLst>
    <p188:txBody>
      <a:bodyPr/>
      <a:lstStyle/>
      <a:p>
        <a:r>
          <a:rPr lang="en-US"/>
          <a:t>ターゲットの説明​
『「コード：」右隣にある文字列』に変更しました。</a:t>
        </a:r>
      </a:p>
    </p188:txBody>
  </p188:cm>
</p188:cmLst>
</file>

<file path=ppt/comments/modernComment_7FFFEE69_6C5C79F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7DB47AF-7934-41D1-9EDC-43EB428354B2}" authorId="{3101C8CC-2D3B-190F-F625-A8C25B0C4020}" created="2026-01-15T03:58:57.791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817999861" sldId="2147479145"/>
      <ac:spMk id="2" creationId="{2ED8309C-7812-6284-235F-3F48CF74602E}"/>
    </ac:deMkLst>
    <p188:txBody>
      <a:bodyPr/>
      <a:lstStyle/>
      <a:p>
        <a:r>
          <a:rPr lang="en-US"/>
          <a:t>「空のタスク」が表示されていない「新規」新規のみの画面を追加しました</a:t>
        </a:r>
      </a:p>
    </p188:txBody>
  </p188:cm>
</p188:cmLst>
</file>

<file path=ppt/comments/modernComment_7FFFEE6A_C56402B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2F85F52-BCBE-4871-AB41-C01BC66F6982}" authorId="{3101C8CC-2D3B-190F-F625-A8C25B0C4020}" created="2026-01-15T04:38:52.287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311665854" sldId="2147479146"/>
      <ac:spMk id="4" creationId="{84B347A1-CA4E-3184-3E61-FB553096C55E}"/>
      <ac:txMk cp="0" len="17">
        <ac:context len="18" hash="1371095680"/>
      </ac:txMk>
    </ac:txMkLst>
    <p188:pos x="2031999" y="761999"/>
    <p188:txBody>
      <a:bodyPr/>
      <a:lstStyle/>
      <a:p>
        <a:r>
          <a:rPr lang="en-US"/>
          <a:t>スクショ差し替え​(変数が非表示)​に変更しました。</a:t>
        </a:r>
      </a:p>
    </p188:txBody>
  </p188:cm>
</p188:cmLst>
</file>

<file path=ppt/comments/modernComment_7FFFEE6C_BFB2B64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9F383B0-641B-4FD1-BFDA-859E8E7C2C9A}" authorId="{3101C8CC-2D3B-190F-F625-A8C25B0C4020}" created="2026-01-16T00:23:09.628">
    <pc:sldMkLst xmlns:pc="http://schemas.microsoft.com/office/powerpoint/2013/main/command">
      <pc:docMk/>
      <pc:sldMk cId="3216160323" sldId="2147479148"/>
    </pc:sldMkLst>
    <p188:txBody>
      <a:bodyPr/>
      <a:lstStyle/>
      <a:p>
        <a:r>
          <a:rPr lang="en-US"/>
          <a:t>Studio→StudioXにスクショを変更しました</a:t>
        </a:r>
      </a:p>
    </p188:txBody>
  </p188:cm>
</p188:cmLst>
</file>

<file path=ppt/comments/modernComment_7FFFEE6D_6BBB724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6E476B3-2954-494E-BB84-A0C690BF8B1F}" authorId="{3101C8CC-2D3B-190F-F625-A8C25B0C4020}" created="2026-01-19T04:58:55.378">
    <pc:sldMkLst xmlns:pc="http://schemas.microsoft.com/office/powerpoint/2013/main/command">
      <pc:docMk/>
      <pc:sldMk cId="1807446600" sldId="2147479149"/>
    </pc:sldMkLst>
    <p188:txBody>
      <a:bodyPr/>
      <a:lstStyle/>
      <a:p>
        <a:r>
          <a:rPr lang="ja-JP" altLang="en-US"/>
          <a:t> テキストビルダーを開くのスクショを追加しました</a:t>
        </a:r>
      </a:p>
    </p188:txBody>
  </p188:cm>
</p188:cmLst>
</file>

<file path=ppt/comments/modernComment_7FFFEE70_EBC7783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B98F98A-EC60-437F-A8B9-7D53EFB58841}" authorId="{3101C8CC-2D3B-190F-F625-A8C25B0C4020}" created="2026-01-15T08:52:17.123">
    <pc:sldMkLst xmlns:pc="http://schemas.microsoft.com/office/powerpoint/2013/main/command">
      <pc:docMk/>
      <pc:sldMk cId="660830317" sldId="2147479147"/>
    </pc:sldMkLst>
    <p188:txBody>
      <a:bodyPr/>
      <a:lstStyle/>
      <a:p>
        <a:r>
          <a:rPr lang="en-US"/>
          <a:t>【テキストビルダーを開く】のスクショを追加しました</a:t>
        </a:r>
      </a:p>
    </p188:txBody>
  </p188:cm>
</p188:cmLst>
</file>

<file path=ppt/comments/modernComment_7FFFEE71_F13F022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CC85022-3398-489D-A303-0EC794D2D95B}" authorId="{3101C8CC-2D3B-190F-F625-A8C25B0C4020}" created="2026-01-19T04:59:24.614">
    <pc:sldMkLst xmlns:pc="http://schemas.microsoft.com/office/powerpoint/2013/main/command">
      <pc:docMk/>
      <pc:sldMk cId="4047438369" sldId="2147479153"/>
    </pc:sldMkLst>
    <p188:txBody>
      <a:bodyPr/>
      <a:lstStyle/>
      <a:p>
        <a:r>
          <a:rPr lang="ja-JP" altLang="en-US"/>
          <a:t>Replace設定のスクショを追加しました</a:t>
        </a:r>
      </a:p>
    </p188:txBody>
  </p188:cm>
</p188:cmLst>
</file>

<file path=ppt/comments/modernComment_7FFFEE74_63CD756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96E6D31-D3B9-4E1E-A3BE-4ACED4A10D96}" authorId="{3101C8CC-2D3B-190F-F625-A8C25B0C4020}" created="2026-01-19T04:58:37.799">
    <pc:sldMkLst xmlns:pc="http://schemas.microsoft.com/office/powerpoint/2013/main/command">
      <pc:docMk/>
      <pc:sldMk cId="1674409327" sldId="2147479156"/>
    </pc:sldMkLst>
    <p188:txBody>
      <a:bodyPr/>
      <a:lstStyle/>
      <a:p>
        <a:r>
          <a:rPr lang="ja-JP" altLang="en-US"/>
          <a:t> テキストビルダーのスクショを追加しました</a:t>
        </a:r>
      </a:p>
    </p188:txBody>
  </p188:cm>
</p188:cmLst>
</file>

<file path=ppt/comments/modernComment_7FFFEE76_9411197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0FA4217-887B-485F-BC29-B4DC78ABDF31}" authorId="{3101C8CC-2D3B-190F-F625-A8C25B0C4020}" created="2026-01-15T08:57:58.878">
    <pc:sldMkLst xmlns:pc="http://schemas.microsoft.com/office/powerpoint/2013/main/command">
      <pc:docMk/>
      <pc:sldMk cId="1839388361" sldId="2147479090"/>
    </pc:sldMkLst>
    <p188:txBody>
      <a:bodyPr/>
      <a:lstStyle/>
      <a:p>
        <a:r>
          <a:rPr lang="en-US"/>
          <a:t>【テキストビルダー】の入力画面スクショを追加しました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435000" cy="354965"/>
          </a:xfrm>
          <a:prstGeom prst="rect">
            <a:avLst/>
          </a:prstGeom>
        </p:spPr>
        <p:txBody>
          <a:bodyPr vert="horz" lIns="94640" tIns="47320" rIns="94640" bIns="473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5797246" y="0"/>
            <a:ext cx="4435000" cy="354965"/>
          </a:xfrm>
          <a:prstGeom prst="rect">
            <a:avLst/>
          </a:prstGeom>
        </p:spPr>
        <p:txBody>
          <a:bodyPr vert="horz" lIns="94640" tIns="47320" rIns="94640" bIns="47320" rtlCol="0"/>
          <a:lstStyle>
            <a:lvl1pPr algn="r">
              <a:defRPr sz="1200"/>
            </a:lvl1pPr>
          </a:lstStyle>
          <a:p>
            <a:fld id="{6C2C4386-B183-654C-9E7B-D52C24951AF5}" type="datetimeFigureOut">
              <a:rPr kumimoji="1" lang="ja-JP" altLang="en-US" smtClean="0"/>
              <a:t>2026/1/20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6743103"/>
            <a:ext cx="4435000" cy="354965"/>
          </a:xfrm>
          <a:prstGeom prst="rect">
            <a:avLst/>
          </a:prstGeom>
        </p:spPr>
        <p:txBody>
          <a:bodyPr vert="horz" lIns="94640" tIns="47320" rIns="94640" bIns="473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5797246" y="6743103"/>
            <a:ext cx="4435000" cy="354965"/>
          </a:xfrm>
          <a:prstGeom prst="rect">
            <a:avLst/>
          </a:prstGeom>
        </p:spPr>
        <p:txBody>
          <a:bodyPr vert="horz" lIns="94640" tIns="47320" rIns="94640" bIns="47320" rtlCol="0" anchor="b"/>
          <a:lstStyle>
            <a:lvl1pPr algn="r">
              <a:defRPr sz="1200"/>
            </a:lvl1pPr>
          </a:lstStyle>
          <a:p>
            <a:fld id="{349A9920-5521-E443-8442-9DB0AECE166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59503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435000" cy="354965"/>
          </a:xfrm>
          <a:prstGeom prst="rect">
            <a:avLst/>
          </a:prstGeom>
        </p:spPr>
        <p:txBody>
          <a:bodyPr vert="horz" lIns="94640" tIns="47320" rIns="94640" bIns="473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5797246" y="0"/>
            <a:ext cx="4435000" cy="354965"/>
          </a:xfrm>
          <a:prstGeom prst="rect">
            <a:avLst/>
          </a:prstGeom>
        </p:spPr>
        <p:txBody>
          <a:bodyPr vert="horz" lIns="94640" tIns="47320" rIns="94640" bIns="47320" rtlCol="0"/>
          <a:lstStyle>
            <a:lvl1pPr algn="r">
              <a:defRPr sz="1200"/>
            </a:lvl1pPr>
          </a:lstStyle>
          <a:p>
            <a:fld id="{7DC62E43-6BEB-E141-BAB0-607A387E4360}" type="datetimeFigureOut">
              <a:rPr kumimoji="1" lang="ja-JP" altLang="en-US" smtClean="0"/>
              <a:t>2026/1/20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2752725" y="533400"/>
            <a:ext cx="4729163" cy="2660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640" tIns="47320" rIns="94640" bIns="473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1023462" y="3372168"/>
            <a:ext cx="8187690" cy="3194685"/>
          </a:xfrm>
          <a:prstGeom prst="rect">
            <a:avLst/>
          </a:prstGeom>
        </p:spPr>
        <p:txBody>
          <a:bodyPr vert="horz" lIns="94640" tIns="47320" rIns="94640" bIns="473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6743103"/>
            <a:ext cx="4435000" cy="354965"/>
          </a:xfrm>
          <a:prstGeom prst="rect">
            <a:avLst/>
          </a:prstGeom>
        </p:spPr>
        <p:txBody>
          <a:bodyPr vert="horz" lIns="94640" tIns="47320" rIns="94640" bIns="473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5797246" y="6743103"/>
            <a:ext cx="4435000" cy="354965"/>
          </a:xfrm>
          <a:prstGeom prst="rect">
            <a:avLst/>
          </a:prstGeom>
        </p:spPr>
        <p:txBody>
          <a:bodyPr vert="horz" lIns="94640" tIns="47320" rIns="94640" bIns="47320" rtlCol="0" anchor="b"/>
          <a:lstStyle>
            <a:lvl1pPr algn="r">
              <a:defRPr sz="1200"/>
            </a:lvl1pPr>
          </a:lstStyle>
          <a:p>
            <a:fld id="{257D24CB-8007-374D-9E08-03A8819812E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3423271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2752725" y="533400"/>
            <a:ext cx="4729163" cy="26606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42040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1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052306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1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316274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1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463981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1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129315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1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0059298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1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471244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1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331408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0EFB69-62A5-B22A-322A-4819FAE0F9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955D20F8-E2B8-8E36-1640-006947EA999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AC1421FC-5C01-50A2-140B-C38A66AB38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7C2AEA3B-5706-C543-BF8F-91C28C1FFF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2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2029375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2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743912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2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061418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7D24CB-8007-374D-9E08-03A8819812E8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567937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2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720319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2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5418759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2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1424657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3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0020424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3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4969824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3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5510385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3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6832558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3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1756876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3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2046511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3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536396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7D24CB-8007-374D-9E08-03A8819812E8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663923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3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9057214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3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1554303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4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4133297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4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7584350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4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2920376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4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1815364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4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0723840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4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2938419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4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3712247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4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177166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5895640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4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4807267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4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1631958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5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47993566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5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2153633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5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9050284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5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13921300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5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6683852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5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01843253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5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3714423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5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033060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68566298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5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5113626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5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93514190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6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79746588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6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690751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6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19064993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6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8430150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6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46662427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6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09214191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6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5248544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6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88344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7620751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6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4084216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7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05632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364776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7D24CB-8007-374D-9E08-03A8819812E8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14148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7D24CB-8007-374D-9E08-03A8819812E8}" type="slidenum">
              <a:rPr kumimoji="1" lang="ja-JP" altLang="en-US" smtClean="0"/>
              <a:t>1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054607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image" Target="../media/image3.png"/><Relationship Id="rId5" Type="http://schemas.openxmlformats.org/officeDocument/2006/relationships/tags" Target="../tags/tag11.xml"/><Relationship Id="rId10" Type="http://schemas.openxmlformats.org/officeDocument/2006/relationships/image" Target="../media/image8.emf"/><Relationship Id="rId4" Type="http://schemas.openxmlformats.org/officeDocument/2006/relationships/tags" Target="../tags/tag10.xml"/><Relationship Id="rId9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7E776F1-9004-D9AE-1B8C-250A8B363E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734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15" imgH="416" progId="TCLayout.ActiveDocument.1">
                  <p:embed/>
                </p:oleObj>
              </mc:Choice>
              <mc:Fallback>
                <p:oleObj name="think-cellスライド" r:id="rId3" imgW="415" imgH="41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E776F1-9004-D9AE-1B8C-250A8B363E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図 11" descr="クロスワードパズル, テキスト, 建物, 大きい が含まれている画像&#10;&#10;自動的に生成された説明">
            <a:extLst>
              <a:ext uri="{FF2B5EF4-FFF2-40B4-BE49-F238E27FC236}">
                <a16:creationId xmlns:a16="http://schemas.microsoft.com/office/drawing/2014/main" id="{DF587D47-1E2B-466B-8CEF-D5558074CC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50000"/>
          </a:blip>
          <a:srcRect t="11706" b="3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タイトル 1">
            <a:extLst>
              <a:ext uri="{FF2B5EF4-FFF2-40B4-BE49-F238E27FC236}">
                <a16:creationId xmlns:a16="http://schemas.microsoft.com/office/drawing/2014/main" id="{6742F71C-537D-49CD-94D2-6F64683CFFD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4" y="2855743"/>
            <a:ext cx="10801351" cy="720000"/>
          </a:xfrm>
        </p:spPr>
        <p:txBody>
          <a:bodyPr vert="horz" anchor="ctr">
            <a:noAutofit/>
          </a:bodyPr>
          <a:lstStyle>
            <a:lvl1pPr algn="l">
              <a:lnSpc>
                <a:spcPct val="120000"/>
              </a:lnSpc>
              <a:defRPr sz="3600"/>
            </a:lvl1pPr>
          </a:lstStyle>
          <a:p>
            <a:r>
              <a:rPr kumimoji="1" lang="ja-JP" altLang="en-US"/>
              <a:t>プレゼンテーションタイトル</a:t>
            </a:r>
          </a:p>
        </p:txBody>
      </p:sp>
      <p:sp>
        <p:nvSpPr>
          <p:cNvPr id="19" name="サブタイトル 2">
            <a:extLst>
              <a:ext uri="{FF2B5EF4-FFF2-40B4-BE49-F238E27FC236}">
                <a16:creationId xmlns:a16="http://schemas.microsoft.com/office/drawing/2014/main" id="{04EA08B8-5006-41AC-9101-F5985FBBA5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5324" y="3602038"/>
            <a:ext cx="10801351" cy="40725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120000"/>
              </a:lnSpc>
              <a:buNone/>
              <a:defRPr sz="24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サブタイトル</a:t>
            </a:r>
          </a:p>
        </p:txBody>
      </p:sp>
      <p:pic>
        <p:nvPicPr>
          <p:cNvPr id="21" name="図 20">
            <a:extLst>
              <a:ext uri="{FF2B5EF4-FFF2-40B4-BE49-F238E27FC236}">
                <a16:creationId xmlns:a16="http://schemas.microsoft.com/office/drawing/2014/main" id="{0BF4BDFC-B373-4ABC-9BE4-D1C2FCD51D8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06" y="452496"/>
            <a:ext cx="1295403" cy="710185"/>
          </a:xfrm>
          <a:prstGeom prst="rect">
            <a:avLst/>
          </a:prstGeom>
        </p:spPr>
      </p:pic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EB7C675F-8A9A-E542-1BDC-3FCCF88210CC}"/>
              </a:ext>
            </a:extLst>
          </p:cNvPr>
          <p:cNvSpPr txBox="1"/>
          <p:nvPr userDrawn="1"/>
        </p:nvSpPr>
        <p:spPr>
          <a:xfrm>
            <a:off x="9936262" y="6572007"/>
            <a:ext cx="199853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kumimoji="1" lang="en-US" altLang="ja-JP" sz="800" spc="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</a:rPr>
              <a:t>© 2025 JERA Co., Inc. All Rights Reserved.</a:t>
            </a:r>
            <a:endParaRPr kumimoji="1" lang="ja-JP" altLang="en-US" sz="900" spc="0" baseline="0">
              <a:solidFill>
                <a:schemeClr val="accent1">
                  <a:lumMod val="75000"/>
                </a:schemeClr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6552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8">
          <p15:clr>
            <a:srgbClr val="FBAE40"/>
          </p15:clr>
        </p15:guide>
        <p15:guide id="2" pos="724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E70EB9-274E-2DFB-496D-09944E50BC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355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15" imgH="416" progId="TCLayout.ActiveDocument.1">
                  <p:embed/>
                </p:oleObj>
              </mc:Choice>
              <mc:Fallback>
                <p:oleObj name="think-cellスライド" r:id="rId3" imgW="415" imgH="41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E70EB9-274E-2DFB-496D-09944E50BC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コンテンツ プレースホルダー 4"/>
          <p:cNvSpPr>
            <a:spLocks noGrp="1"/>
          </p:cNvSpPr>
          <p:nvPr>
            <p:ph sz="quarter" idx="10"/>
          </p:nvPr>
        </p:nvSpPr>
        <p:spPr>
          <a:xfrm>
            <a:off x="263525" y="1233488"/>
            <a:ext cx="11664950" cy="5075237"/>
          </a:xfrm>
          <a:prstGeom prst="rect">
            <a:avLst/>
          </a:prstGeom>
        </p:spPr>
        <p:txBody>
          <a:bodyPr lIns="36000" tIns="36000" rIns="36000" bIns="36000"/>
          <a:lstStyle>
            <a:lvl1pPr marL="0" indent="0">
              <a:spcAft>
                <a:spcPts val="1200"/>
              </a:spcAft>
              <a:buClr>
                <a:schemeClr val="bg1"/>
              </a:buClr>
              <a:buFont typeface="ＭＳ Ｐゴシック" panose="020B0600070205080204" pitchFamily="50" charset="-128"/>
              <a:buChar char="・"/>
              <a:defRPr/>
            </a:lvl1pPr>
            <a:lvl2pPr marL="633413" indent="-366713"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2200"/>
            </a:lvl2pPr>
            <a:lvl3pPr marL="719138" indent="-271463">
              <a:spcAft>
                <a:spcPts val="10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/>
            </a:lvl3pPr>
            <a:lvl4pPr marL="801688" indent="-168275">
              <a:spcAft>
                <a:spcPts val="8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1400"/>
            </a:lvl4pPr>
            <a:lvl5pPr marL="900113" indent="-182563"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1200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8" name="タイトル プレースホルダー 1">
            <a:extLst>
              <a:ext uri="{FF2B5EF4-FFF2-40B4-BE49-F238E27FC236}">
                <a16:creationId xmlns:a16="http://schemas.microsoft.com/office/drawing/2014/main" id="{B6C9E3CA-8F62-E13E-1E2D-D70062E1C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218366"/>
            <a:ext cx="11215099" cy="72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988964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2611D83-7BA8-B4DD-109F-9FF0C997A9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7768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15" imgH="416" progId="TCLayout.ActiveDocument.1">
                  <p:embed/>
                </p:oleObj>
              </mc:Choice>
              <mc:Fallback>
                <p:oleObj name="think-cellスライド" r:id="rId3" imgW="415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611D83-7BA8-B4DD-109F-9FF0C997A9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AE5D69A8-409D-4F63-A23E-BD1AEC690246}"/>
              </a:ext>
            </a:extLst>
          </p:cNvPr>
          <p:cNvSpPr/>
          <p:nvPr userDrawn="1"/>
        </p:nvSpPr>
        <p:spPr>
          <a:xfrm>
            <a:off x="263525" y="1233488"/>
            <a:ext cx="11664950" cy="5075237"/>
          </a:xfrm>
          <a:prstGeom prst="roundRect">
            <a:avLst>
              <a:gd name="adj" fmla="val 897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600"/>
          </a:p>
        </p:txBody>
      </p:sp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338D5296-F108-6F6B-AB8F-487DBAD2E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218366"/>
            <a:ext cx="11215099" cy="72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9137987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フッター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50314E1-311E-F090-25A0-6D2B7B6085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401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15" imgH="416" progId="TCLayout.ActiveDocument.1">
                  <p:embed/>
                </p:oleObj>
              </mc:Choice>
              <mc:Fallback>
                <p:oleObj name="think-cellスライド" r:id="rId3" imgW="415" imgH="41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0314E1-311E-F090-25A0-6D2B7B6085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図 3" descr="電子機器, 回路 が含まれている画像&#10;&#10;自動的に生成された説明">
            <a:extLst>
              <a:ext uri="{FF2B5EF4-FFF2-40B4-BE49-F238E27FC236}">
                <a16:creationId xmlns:a16="http://schemas.microsoft.com/office/drawing/2014/main" id="{40F26370-46F5-4C72-AAF6-C7930E2187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50000"/>
          </a:blip>
          <a:srcRect t="11788" b="38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タイトル 1">
            <a:extLst>
              <a:ext uri="{FF2B5EF4-FFF2-40B4-BE49-F238E27FC236}">
                <a16:creationId xmlns:a16="http://schemas.microsoft.com/office/drawing/2014/main" id="{8FB2B1FD-975E-4345-82E0-89B3A7116D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4" y="2929862"/>
            <a:ext cx="10801351" cy="720000"/>
          </a:xfrm>
        </p:spPr>
        <p:txBody>
          <a:bodyPr vert="horz"/>
          <a:lstStyle>
            <a:lvl1pPr>
              <a:lnSpc>
                <a:spcPct val="120000"/>
              </a:lnSpc>
              <a:defRPr sz="3600">
                <a:solidFill>
                  <a:schemeClr val="bg2"/>
                </a:solidFill>
              </a:defRPr>
            </a:lvl1pPr>
          </a:lstStyle>
          <a:p>
            <a:r>
              <a:rPr kumimoji="1" lang="ja-JP" altLang="en-US"/>
              <a:t>チャプタータイトル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3B9CAB94-7668-89EF-4CAF-2303B049E0B1}"/>
              </a:ext>
            </a:extLst>
          </p:cNvPr>
          <p:cNvSpPr txBox="1"/>
          <p:nvPr userDrawn="1"/>
        </p:nvSpPr>
        <p:spPr>
          <a:xfrm>
            <a:off x="9936262" y="6572007"/>
            <a:ext cx="199853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kumimoji="1" lang="en-US" altLang="ja-JP" sz="800" spc="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</a:rPr>
              <a:t>© 2025 JERA Co., Inc. All Rights Reserved.</a:t>
            </a:r>
            <a:endParaRPr kumimoji="1" lang="ja-JP" altLang="en-US" sz="900" spc="0" baseline="0">
              <a:solidFill>
                <a:schemeClr val="accent1">
                  <a:lumMod val="75000"/>
                </a:schemeClr>
              </a:solidFill>
              <a:latin typeface="+mn-lt"/>
              <a:ea typeface="+mn-ea"/>
            </a:endParaRPr>
          </a:p>
        </p:txBody>
      </p:sp>
      <p:pic>
        <p:nvPicPr>
          <p:cNvPr id="3" name="図 2">
            <a:extLst>
              <a:ext uri="{FF2B5EF4-FFF2-40B4-BE49-F238E27FC236}">
                <a16:creationId xmlns:a16="http://schemas.microsoft.com/office/drawing/2014/main" id="{DCF2B109-663F-19B9-7775-B7A5073E2A7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250" y="6563824"/>
            <a:ext cx="539497" cy="207264"/>
          </a:xfrm>
          <a:prstGeom prst="rect">
            <a:avLst/>
          </a:prstGeom>
        </p:spPr>
      </p:pic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658AE7FB-75B7-6FDA-0A6F-4AAF3BF3FC11}"/>
              </a:ext>
            </a:extLst>
          </p:cNvPr>
          <p:cNvSpPr txBox="1"/>
          <p:nvPr userDrawn="1"/>
        </p:nvSpPr>
        <p:spPr>
          <a:xfrm>
            <a:off x="5779246" y="6572007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80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</a:rPr>
              <a:t>Page</a:t>
            </a:r>
            <a:r>
              <a:rPr kumimoji="1" lang="ja-JP" altLang="en-US" sz="80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</a:rPr>
              <a:t> </a:t>
            </a:r>
            <a:fld id="{B07A5307-CE03-4F26-9D50-09948EEB9360}" type="slidenum">
              <a:rPr kumimoji="1" lang="ja-JP" altLang="en-US" sz="800" baseline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</a:rPr>
              <a:t>‹#›</a:t>
            </a:fld>
            <a:endParaRPr kumimoji="1" lang="ja-JP" altLang="en-US" sz="800">
              <a:solidFill>
                <a:schemeClr val="accent1">
                  <a:lumMod val="75000"/>
                </a:schemeClr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429472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518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9" imgW="413" imgH="416" progId="TCLayout.ActiveDocument.1">
                  <p:embed/>
                </p:oleObj>
              </mc:Choice>
              <mc:Fallback>
                <p:oleObj name="think-cellスライド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ja-JP" alt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ja-JP" alt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95325" y="172212"/>
            <a:ext cx="11233150" cy="384721"/>
          </a:xfrm>
          <a:prstGeom prst="rect">
            <a:avLst/>
          </a:prstGeom>
        </p:spPr>
        <p:txBody>
          <a:bodyPr vert="horz" lIns="0" tIns="0" rIns="0" bIns="0" anchor="ctr">
            <a:noAutofit/>
          </a:bodyPr>
          <a:lstStyle>
            <a:lvl1pPr rtl="0">
              <a:defRPr sz="2800"/>
            </a:lvl1pPr>
          </a:lstStyle>
          <a:p>
            <a:r>
              <a:rPr lang="en-US" altLang="ja-JP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695325" y="578844"/>
            <a:ext cx="11233150" cy="47372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just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ja-JP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910474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altLang="ja-JP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698499" y="41597"/>
            <a:ext cx="1122634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altLang="ja-JP"/>
              <a:t>Add tracker</a:t>
            </a:r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id="{50695981-33B4-5B68-E45D-22AF1F1680E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250" y="6563824"/>
            <a:ext cx="539497" cy="207264"/>
          </a:xfrm>
          <a:prstGeom prst="rect">
            <a:avLst/>
          </a:prstGeom>
        </p:spPr>
      </p:pic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DB7DF390-64F6-7D8C-6407-77F4BBBB4B2E}"/>
              </a:ext>
            </a:extLst>
          </p:cNvPr>
          <p:cNvSpPr txBox="1"/>
          <p:nvPr userDrawn="1"/>
        </p:nvSpPr>
        <p:spPr>
          <a:xfrm>
            <a:off x="11448526" y="6572007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800">
                <a:solidFill>
                  <a:schemeClr val="accent1"/>
                </a:solidFill>
                <a:latin typeface="+mn-lt"/>
                <a:ea typeface="+mn-ea"/>
              </a:rPr>
              <a:t>Page</a:t>
            </a:r>
            <a:r>
              <a:rPr kumimoji="1" lang="ja-JP" altLang="en-US" sz="800" baseline="0">
                <a:solidFill>
                  <a:schemeClr val="accent1"/>
                </a:solidFill>
                <a:latin typeface="+mn-lt"/>
                <a:ea typeface="+mn-ea"/>
              </a:rPr>
              <a:t> </a:t>
            </a:r>
            <a:fld id="{B07A5307-CE03-4F26-9D50-09948EEB9360}" type="slidenum">
              <a:rPr kumimoji="1" lang="ja-JP" altLang="en-US" sz="800" baseline="0" smtClean="0">
                <a:solidFill>
                  <a:schemeClr val="accent1"/>
                </a:solidFill>
                <a:latin typeface="+mn-lt"/>
                <a:ea typeface="+mn-ea"/>
              </a:rPr>
              <a:t>‹#›</a:t>
            </a:fld>
            <a:endParaRPr kumimoji="1" lang="ja-JP" altLang="en-US" sz="800">
              <a:solidFill>
                <a:schemeClr val="accent1"/>
              </a:solidFill>
              <a:latin typeface="+mn-lt"/>
              <a:ea typeface="+mn-ea"/>
            </a:endParaRPr>
          </a:p>
        </p:txBody>
      </p:sp>
      <p:pic>
        <p:nvPicPr>
          <p:cNvPr id="6" name="図 5">
            <a:extLst>
              <a:ext uri="{FF2B5EF4-FFF2-40B4-BE49-F238E27FC236}">
                <a16:creationId xmlns:a16="http://schemas.microsoft.com/office/drawing/2014/main" id="{AEE6E590-6637-FDB8-8E4B-1C1B70C71B23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250" y="160602"/>
            <a:ext cx="257150" cy="898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047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8">
          <p15:clr>
            <a:srgbClr val="FBAE40"/>
          </p15:clr>
        </p15:guide>
        <p15:guide id="2" pos="724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03199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533" y="218588"/>
            <a:ext cx="11614936" cy="6318517"/>
          </a:xfrm>
          <a:prstGeom prst="rect">
            <a:avLst/>
          </a:prstGeom>
        </p:spPr>
      </p:pic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451768" y="2929862"/>
            <a:ext cx="10972800" cy="7200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kumimoji="1" lang="ja-JP" altLang="en-US"/>
              <a:t>チャプタータイトル</a:t>
            </a:r>
          </a:p>
        </p:txBody>
      </p:sp>
    </p:spTree>
    <p:extLst>
      <p:ext uri="{BB962C8B-B14F-4D97-AF65-F5344CB8AC3E}">
        <p14:creationId xmlns:p14="http://schemas.microsoft.com/office/powerpoint/2010/main" val="3944030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6B4515B-F156-4A8F-94B4-B2C3945A8B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980066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10" imgW="498" imgH="499" progId="TCLayout.ActiveDocument.1">
                  <p:embed/>
                </p:oleObj>
              </mc:Choice>
              <mc:Fallback>
                <p:oleObj name="think-cellスライド" r:id="rId10" imgW="498" imgH="499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B4515B-F156-4A8F-94B4-B2C3945A8B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タイトル プレースホルダー 1">
            <a:extLst>
              <a:ext uri="{FF2B5EF4-FFF2-40B4-BE49-F238E27FC236}">
                <a16:creationId xmlns:a16="http://schemas.microsoft.com/office/drawing/2014/main" id="{DADC13EB-8EC5-4A44-A156-02FA5BF235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218366"/>
            <a:ext cx="11215099" cy="72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F5EDEFE8-FA95-410C-B4D7-5FF909A9A73B}"/>
              </a:ext>
            </a:extLst>
          </p:cNvPr>
          <p:cNvCxnSpPr/>
          <p:nvPr userDrawn="1"/>
        </p:nvCxnSpPr>
        <p:spPr>
          <a:xfrm>
            <a:off x="287053" y="1085637"/>
            <a:ext cx="11616000" cy="0"/>
          </a:xfrm>
          <a:prstGeom prst="line">
            <a:avLst/>
          </a:prstGeom>
          <a:ln w="12700">
            <a:solidFill>
              <a:schemeClr val="bg2">
                <a:lumMod val="40000"/>
                <a:lumOff val="6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>
            <a:extLst>
              <a:ext uri="{FF2B5EF4-FFF2-40B4-BE49-F238E27FC236}">
                <a16:creationId xmlns:a16="http://schemas.microsoft.com/office/drawing/2014/main" id="{13C60CE3-4EE9-4BE5-9586-4D6451BB275D}"/>
              </a:ext>
            </a:extLst>
          </p:cNvPr>
          <p:cNvCxnSpPr>
            <a:cxnSpLocks/>
          </p:cNvCxnSpPr>
          <p:nvPr userDrawn="1"/>
        </p:nvCxnSpPr>
        <p:spPr>
          <a:xfrm>
            <a:off x="287053" y="6472728"/>
            <a:ext cx="11641422" cy="0"/>
          </a:xfrm>
          <a:prstGeom prst="line">
            <a:avLst/>
          </a:prstGeom>
          <a:ln w="12700">
            <a:solidFill>
              <a:schemeClr val="bg2">
                <a:lumMod val="40000"/>
                <a:lumOff val="6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AD2E86E7-8AF8-4D68-ADA0-6B7B481C9578}"/>
              </a:ext>
            </a:extLst>
          </p:cNvPr>
          <p:cNvSpPr txBox="1"/>
          <p:nvPr userDrawn="1"/>
        </p:nvSpPr>
        <p:spPr>
          <a:xfrm>
            <a:off x="5778299" y="6572007"/>
            <a:ext cx="58060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800">
                <a:solidFill>
                  <a:schemeClr val="bg2"/>
                </a:solidFill>
                <a:latin typeface="+mn-lt"/>
                <a:ea typeface="+mn-ea"/>
              </a:rPr>
              <a:t>Page</a:t>
            </a:r>
            <a:r>
              <a:rPr kumimoji="1" lang="ja-JP" altLang="en-US" sz="800" baseline="0">
                <a:solidFill>
                  <a:schemeClr val="bg2"/>
                </a:solidFill>
                <a:latin typeface="+mn-lt"/>
                <a:ea typeface="+mn-ea"/>
              </a:rPr>
              <a:t> </a:t>
            </a:r>
            <a:fld id="{B07A5307-CE03-4F26-9D50-09948EEB9360}" type="slidenum">
              <a:rPr kumimoji="1" lang="ja-JP" altLang="en-US" sz="800" baseline="0" smtClean="0">
                <a:solidFill>
                  <a:schemeClr val="bg2"/>
                </a:solidFill>
                <a:latin typeface="+mn-lt"/>
                <a:ea typeface="+mn-ea"/>
              </a:rPr>
              <a:t>‹#›</a:t>
            </a:fld>
            <a:endParaRPr kumimoji="1" lang="ja-JP" altLang="en-US" sz="800">
              <a:solidFill>
                <a:schemeClr val="bg2"/>
              </a:solidFill>
              <a:latin typeface="+mn-lt"/>
              <a:ea typeface="+mn-ea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EA899B99-089F-4104-B922-D0429C160A98}"/>
              </a:ext>
            </a:extLst>
          </p:cNvPr>
          <p:cNvSpPr txBox="1"/>
          <p:nvPr userDrawn="1"/>
        </p:nvSpPr>
        <p:spPr>
          <a:xfrm>
            <a:off x="9936262" y="6572007"/>
            <a:ext cx="199853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kumimoji="1" lang="en-US" altLang="ja-JP" sz="800" spc="0" baseline="0">
                <a:solidFill>
                  <a:schemeClr val="bg2"/>
                </a:solidFill>
                <a:latin typeface="+mn-lt"/>
                <a:ea typeface="+mn-ea"/>
              </a:rPr>
              <a:t>© 2025 JERA Co., Inc. All Rights Reserved.</a:t>
            </a:r>
            <a:endParaRPr kumimoji="1" lang="ja-JP" altLang="en-US" sz="900" spc="0" baseline="0">
              <a:solidFill>
                <a:schemeClr val="bg2"/>
              </a:solidFill>
              <a:latin typeface="+mn-lt"/>
              <a:ea typeface="+mn-ea"/>
            </a:endParaRP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0505224D-13DD-4020-ABEB-DA30D23807BC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250" y="160602"/>
            <a:ext cx="257150" cy="898216"/>
          </a:xfrm>
          <a:prstGeom prst="rect">
            <a:avLst/>
          </a:prstGeom>
        </p:spPr>
      </p:pic>
      <p:pic>
        <p:nvPicPr>
          <p:cNvPr id="19" name="図 18">
            <a:extLst>
              <a:ext uri="{FF2B5EF4-FFF2-40B4-BE49-F238E27FC236}">
                <a16:creationId xmlns:a16="http://schemas.microsoft.com/office/drawing/2014/main" id="{6A73A25F-97FC-4F44-8EC4-97D08940EFFD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250" y="6563824"/>
            <a:ext cx="539497" cy="207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854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6" r:id="rId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kumimoji="1" sz="28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365125" indent="-365125" algn="l" defTabSz="457200" rtl="0" eaLnBrk="1" latinLnBrk="0" hangingPunct="1">
        <a:spcBef>
          <a:spcPts val="0"/>
        </a:spcBef>
        <a:spcAft>
          <a:spcPts val="600"/>
        </a:spcAft>
        <a:buClr>
          <a:schemeClr val="accent6"/>
        </a:buClr>
        <a:buFont typeface="Wingdings" panose="05000000000000000000" pitchFamily="2" charset="2"/>
        <a:buChar char="n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377825" algn="l" defTabSz="457200" rtl="0" eaLnBrk="1" latinLnBrk="0" hangingPunct="1">
        <a:spcBef>
          <a:spcPts val="0"/>
        </a:spcBef>
        <a:spcAft>
          <a:spcPts val="600"/>
        </a:spcAft>
        <a:buClr>
          <a:schemeClr val="accent6"/>
        </a:buClr>
        <a:buFont typeface="Wingdings" panose="05000000000000000000" pitchFamily="2" charset="2"/>
        <a:buChar char="l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0"/>
        </a:spcBef>
        <a:spcAft>
          <a:spcPts val="600"/>
        </a:spcAft>
        <a:buClr>
          <a:schemeClr val="accent6"/>
        </a:buClr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0"/>
        </a:spcBef>
        <a:spcAft>
          <a:spcPts val="600"/>
        </a:spcAft>
        <a:buClr>
          <a:schemeClr val="accent6"/>
        </a:buClr>
        <a:buFont typeface="Arial"/>
        <a:buChar char="–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0"/>
        </a:spcBef>
        <a:spcAft>
          <a:spcPts val="600"/>
        </a:spcAft>
        <a:buClr>
          <a:schemeClr val="accent6"/>
        </a:buClr>
        <a:buFont typeface="Arial"/>
        <a:buChar char="»"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66">
          <p15:clr>
            <a:srgbClr val="F26B43"/>
          </p15:clr>
        </p15:guide>
        <p15:guide id="2" pos="7514">
          <p15:clr>
            <a:srgbClr val="F26B43"/>
          </p15:clr>
        </p15:guide>
        <p15:guide id="3" orient="horz" pos="777">
          <p15:clr>
            <a:srgbClr val="F26B43"/>
          </p15:clr>
        </p15:guide>
        <p15:guide id="4" orient="horz" pos="3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10_D48E6A6A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2C_2A1E0C3E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2E_5712170C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30_58492234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6A_C56402BE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microsoft.com/office/2018/10/relationships/comments" Target="../comments/modernComment_7FFFEE70_EBC7783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2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76_9411197A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33_6CC3523E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28.jpeg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34_D517A8F3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microsoft.com/office/2018/10/relationships/comments" Target="../comments/modernComment_7FFFEE6D_6BBB724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microsoft.com/office/2018/10/relationships/comments" Target="../comments/modernComment_7FFFEE74_63CD756F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microsoft.com/office/2018/10/relationships/comments" Target="../comments/modernComment_7FFFEE71_F13F0221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35_5DED8420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33.png"/></Relationships>
</file>

<file path=ppt/slides/_rels/slide2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32_6DA2D6C9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microsoft.com/office/2018/10/relationships/comments" Target="../comments/modernComment_7FFFEE69_6C5C79F5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jeragroup.sharepoint.com/sites/Jenny1/Shared%20Documents/General/@&#20849;&#26377;&#12501;&#12449;&#12452;&#12523;/20_&#25945;&#32946;&#36039;&#26009;/&#25968;&#20998;&#12391;&#12510;&#12473;&#12479;&#12540;&#12391;&#12365;&#12427;&#36229;&#20837;&#38272;&#12511;&#12491;&#12525;&#12508;/&#24066;&#27665;&#38283;&#30330;&#12469;&#12509;&#12540;&#12488;&#35201;&#21729;&#12473;&#12461;&#12523;&#21521;&#19978;/05_Excel&#12392;&#12502;&#12521;&#12454;&#12470;&#25805;&#20316;/&#12525;&#12508;&#20316;&#25104;&#21205;&#30011;/&#20316;&#25104;&#21205;&#30011;&#9313;_&#20107;&#21069;&#28310;&#20633;.mp4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3B_88EB57C0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3E_6A8FFE9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6C_BFB2B643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4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3F_ED136D4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png"/></Relationships>
</file>

<file path=ppt/slides/_rels/slide4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40_6D651ABE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7.png"/></Relationships>
</file>

<file path=ppt/slides/_rels/slide4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41_C22A8713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4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42_A21181F4.xm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_rels/slide45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43_BE788180.xm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0.png"/></Relationships>
</file>

<file path=ppt/slides/_rels/slide4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44_F8E70126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51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2D_C40737E8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5A_7B3A2266.xm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png"/></Relationships>
</file>

<file path=ppt/slides/_rels/slide5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5B_60970766.xm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5D_4D3C5726.xm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png"/><Relationship Id="rId5" Type="http://schemas.openxmlformats.org/officeDocument/2006/relationships/image" Target="../media/image19.png"/><Relationship Id="rId4" Type="http://schemas.openxmlformats.org/officeDocument/2006/relationships/image" Target="../media/image60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5E_8E280CAC.xm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63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5F_AD44E370.xml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65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60_79DC3653.xml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7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61_897F0C6.xml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9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54_2AFEBD4D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jeragroup.sharepoint.com/sites/Jenny1/Shared%20Documents/General/@&#20849;&#26377;&#12501;&#12449;&#12452;&#12523;/20_&#25945;&#32946;&#36039;&#26009;/&#25968;&#20998;&#12391;&#12510;&#12473;&#12479;&#12540;&#12391;&#12365;&#12427;&#36229;&#20837;&#38272;&#12511;&#12491;&#12525;&#12508;/&#24066;&#27665;&#38283;&#30330;&#12469;&#12509;&#12540;&#12488;&#35201;&#21729;&#12473;&#12461;&#12523;&#21521;&#19978;/05_Excel&#12392;&#12502;&#12521;&#12454;&#12470;&#25805;&#20316;/&#12525;&#12508;&#20316;&#25104;&#21205;&#30011;/&#12525;&#12508;&#23455;&#34892;&#21205;&#30011;.mp4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52_7A1ABCCA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E55_65DF1E99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テキスト プレースホルダー 8"/>
          <p:cNvSpPr txBox="1">
            <a:spLocks/>
          </p:cNvSpPr>
          <p:nvPr/>
        </p:nvSpPr>
        <p:spPr>
          <a:xfrm>
            <a:off x="450168" y="5559270"/>
            <a:ext cx="9052420" cy="84153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Tx/>
              <a:buNone/>
              <a:defRPr kumimoji="1" sz="1800" kern="1200" spc="0" baseline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365125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Tx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Tx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Tx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Tx/>
              <a:buNone/>
              <a:defRPr kumimoji="1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>
                <a:solidFill>
                  <a:schemeClr val="bg2"/>
                </a:solidFill>
              </a:rPr>
              <a:t>株式会社 </a:t>
            </a:r>
            <a:r>
              <a:rPr lang="en-US" altLang="ja-JP" dirty="0">
                <a:solidFill>
                  <a:schemeClr val="bg2"/>
                </a:solidFill>
              </a:rPr>
              <a:t>JERA</a:t>
            </a:r>
            <a:r>
              <a:rPr lang="ja-JP" altLang="en-US" dirty="0">
                <a:solidFill>
                  <a:schemeClr val="bg2"/>
                </a:solidFill>
              </a:rPr>
              <a:t>　デジタルソリューション統括部</a:t>
            </a:r>
            <a:endParaRPr lang="en-US" altLang="ja-JP" dirty="0">
              <a:solidFill>
                <a:schemeClr val="bg2"/>
              </a:solidFill>
            </a:endParaRPr>
          </a:p>
          <a:p>
            <a:r>
              <a:rPr lang="ja-JP" altLang="en-US" dirty="0">
                <a:solidFill>
                  <a:schemeClr val="bg2"/>
                </a:solidFill>
              </a:rPr>
              <a:t>プラントソリューション部　支社</a:t>
            </a:r>
            <a:r>
              <a:rPr lang="en-US" altLang="ja-JP" dirty="0">
                <a:solidFill>
                  <a:schemeClr val="bg2"/>
                </a:solidFill>
              </a:rPr>
              <a:t>IT</a:t>
            </a:r>
            <a:r>
              <a:rPr lang="ja-JP" altLang="en-US" dirty="0">
                <a:solidFill>
                  <a:schemeClr val="bg2"/>
                </a:solidFill>
              </a:rPr>
              <a:t>ソリューションユニット</a:t>
            </a:r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AD223544-3192-4A32-9803-A165513805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855743"/>
            <a:ext cx="12192000" cy="720000"/>
          </a:xfrm>
        </p:spPr>
        <p:txBody>
          <a:bodyPr>
            <a:normAutofit/>
          </a:bodyPr>
          <a:lstStyle/>
          <a:p>
            <a:pPr algn="ctr"/>
            <a:r>
              <a:rPr lang="en-US" altLang="ja-JP">
                <a:cs typeface="Arial"/>
              </a:rPr>
              <a:t>【</a:t>
            </a:r>
            <a:r>
              <a:rPr lang="en-US" altLang="ja-JP" err="1">
                <a:cs typeface="Arial"/>
              </a:rPr>
              <a:t>StudioX</a:t>
            </a:r>
            <a:r>
              <a:rPr lang="en-US" altLang="ja-JP">
                <a:cs typeface="Arial"/>
              </a:rPr>
              <a:t>】</a:t>
            </a:r>
            <a:r>
              <a:rPr lang="ja-JP" altLang="en-US">
                <a:cs typeface="Arial"/>
              </a:rPr>
              <a:t>ミニロボ</a:t>
            </a:r>
            <a:r>
              <a:rPr lang="en-US" altLang="ja-JP">
                <a:cs typeface="Arial"/>
              </a:rPr>
              <a:t>_Excel</a:t>
            </a:r>
            <a:r>
              <a:rPr lang="ja-JP" altLang="en-US">
                <a:cs typeface="Arial"/>
              </a:rPr>
              <a:t>とブラウザ操作</a:t>
            </a:r>
            <a:endParaRPr lang="en-US" altLang="ja-JP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379155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右側が「プロパティパネル」です。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D4F67147-A8E9-18F5-AA0A-2EFAB0ED47A3}"/>
              </a:ext>
            </a:extLst>
          </p:cNvPr>
          <p:cNvGrpSpPr/>
          <p:nvPr/>
        </p:nvGrpSpPr>
        <p:grpSpPr>
          <a:xfrm>
            <a:off x="720000" y="1080000"/>
            <a:ext cx="10204139" cy="5400000"/>
            <a:chOff x="720000" y="1080000"/>
            <a:chExt cx="10204139" cy="5400000"/>
          </a:xfrm>
        </p:grpSpPr>
        <p:pic>
          <p:nvPicPr>
            <p:cNvPr id="4" name="図 3">
              <a:extLst>
                <a:ext uri="{FF2B5EF4-FFF2-40B4-BE49-F238E27FC236}">
                  <a16:creationId xmlns:a16="http://schemas.microsoft.com/office/drawing/2014/main" id="{362A7FCD-074D-9401-EB9D-57F5841CC91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0000" y="1080000"/>
              <a:ext cx="10204139" cy="5400000"/>
            </a:xfrm>
            <a:prstGeom prst="rect">
              <a:avLst/>
            </a:prstGeom>
          </p:spPr>
        </p:pic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379EE636-3BE0-725F-D8D1-C106BE84C581}"/>
                </a:ext>
              </a:extLst>
            </p:cNvPr>
            <p:cNvSpPr/>
            <p:nvPr/>
          </p:nvSpPr>
          <p:spPr>
            <a:xfrm>
              <a:off x="8712000" y="1800000"/>
              <a:ext cx="2016000" cy="4320000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556040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2C57CB6-B4A0-A43A-9E1E-64D9497D28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4" y="2929862"/>
            <a:ext cx="10801351" cy="720000"/>
          </a:xfrm>
        </p:spPr>
        <p:txBody>
          <a:bodyPr anchor="ctr">
            <a:normAutofit/>
          </a:bodyPr>
          <a:lstStyle/>
          <a:p>
            <a:r>
              <a:rPr lang="en-US" altLang="ja-JP" dirty="0"/>
              <a:t>URL</a:t>
            </a:r>
            <a:r>
              <a:rPr lang="ja-JP" altLang="en-US" dirty="0"/>
              <a:t>からファイルをダウンロー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936440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アクティビティパネルで「グループ」を検索、</a:t>
            </a:r>
            <a:br>
              <a:rPr kumimoji="1" lang="en-US" altLang="ja-JP" sz="2000"/>
            </a:br>
            <a:r>
              <a:rPr kumimoji="1" lang="ja-JP" altLang="en-US" sz="2000"/>
              <a:t>デザイナーパネルにドラッグ＆ドロップします。</a:t>
            </a:r>
            <a:br>
              <a:rPr kumimoji="1" lang="en-US" altLang="ja-JP" sz="2000"/>
            </a:br>
            <a:r>
              <a:rPr kumimoji="1" lang="ja-JP" altLang="en-US" sz="2000"/>
              <a:t>（</a:t>
            </a:r>
            <a:r>
              <a:rPr lang="ja-JP" altLang="en-US" sz="2000"/>
              <a:t>グループ</a:t>
            </a:r>
            <a:r>
              <a:rPr kumimoji="1" lang="ja-JP" altLang="en-US" sz="2000"/>
              <a:t>の名前を「</a:t>
            </a:r>
            <a:r>
              <a:rPr kumimoji="1" lang="en-US" altLang="ja-JP" sz="2000"/>
              <a:t>URL</a:t>
            </a:r>
            <a:r>
              <a:rPr kumimoji="1" lang="ja-JP" altLang="en-US" sz="2000"/>
              <a:t>からファイルをダウンロード」に変更）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EADC524B-6764-2470-95F1-827A5AC80249}"/>
              </a:ext>
            </a:extLst>
          </p:cNvPr>
          <p:cNvGrpSpPr>
            <a:grpSpLocks noChangeAspect="1"/>
          </p:cNvGrpSpPr>
          <p:nvPr/>
        </p:nvGrpSpPr>
        <p:grpSpPr>
          <a:xfrm>
            <a:off x="720000" y="1260000"/>
            <a:ext cx="9987282" cy="5040000"/>
            <a:chOff x="0" y="0"/>
            <a:chExt cx="6840220" cy="3451860"/>
          </a:xfrm>
        </p:grpSpPr>
        <p:pic>
          <p:nvPicPr>
            <p:cNvPr id="4" name="図 3">
              <a:extLst>
                <a:ext uri="{FF2B5EF4-FFF2-40B4-BE49-F238E27FC236}">
                  <a16:creationId xmlns:a16="http://schemas.microsoft.com/office/drawing/2014/main" id="{81E1E9B4-0905-50AB-2803-02086C33333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6840220" cy="3451860"/>
            </a:xfrm>
            <a:prstGeom prst="rect">
              <a:avLst/>
            </a:prstGeom>
          </p:spPr>
        </p:pic>
        <p:grpSp>
          <p:nvGrpSpPr>
            <p:cNvPr id="5" name="グループ化 4">
              <a:extLst>
                <a:ext uri="{FF2B5EF4-FFF2-40B4-BE49-F238E27FC236}">
                  <a16:creationId xmlns:a16="http://schemas.microsoft.com/office/drawing/2014/main" id="{CD5B2975-96EE-3C5E-2A0B-90AF4B94860E}"/>
                </a:ext>
              </a:extLst>
            </p:cNvPr>
            <p:cNvGrpSpPr/>
            <p:nvPr/>
          </p:nvGrpSpPr>
          <p:grpSpPr>
            <a:xfrm>
              <a:off x="95250" y="889000"/>
              <a:ext cx="1490800" cy="378950"/>
              <a:chOff x="0" y="0"/>
              <a:chExt cx="1490800" cy="378950"/>
            </a:xfrm>
          </p:grpSpPr>
          <p:sp>
            <p:nvSpPr>
              <p:cNvPr id="6" name="正方形/長方形 5">
                <a:extLst>
                  <a:ext uri="{FF2B5EF4-FFF2-40B4-BE49-F238E27FC236}">
                    <a16:creationId xmlns:a16="http://schemas.microsoft.com/office/drawing/2014/main" id="{60BDA265-CFF2-CF77-B8F1-F9354F19AE46}"/>
                  </a:ext>
                </a:extLst>
              </p:cNvPr>
              <p:cNvSpPr/>
              <p:nvPr/>
            </p:nvSpPr>
            <p:spPr>
              <a:xfrm>
                <a:off x="50800" y="0"/>
                <a:ext cx="1440000" cy="143510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ja-JP" altLang="en-US"/>
              </a:p>
            </p:txBody>
          </p:sp>
          <p:sp>
            <p:nvSpPr>
              <p:cNvPr id="7" name="正方形/長方形 6">
                <a:extLst>
                  <a:ext uri="{FF2B5EF4-FFF2-40B4-BE49-F238E27FC236}">
                    <a16:creationId xmlns:a16="http://schemas.microsoft.com/office/drawing/2014/main" id="{0DD63801-181E-9857-60D8-C676431EF757}"/>
                  </a:ext>
                </a:extLst>
              </p:cNvPr>
              <p:cNvSpPr/>
              <p:nvPr/>
            </p:nvSpPr>
            <p:spPr>
              <a:xfrm>
                <a:off x="0" y="234950"/>
                <a:ext cx="432000" cy="144000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ja-JP" altLang="en-US"/>
              </a:p>
            </p:txBody>
          </p:sp>
        </p:grpSp>
      </p:grp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E420A8C-9D4C-EE72-BC4A-29658E5E8F45}"/>
              </a:ext>
            </a:extLst>
          </p:cNvPr>
          <p:cNvCxnSpPr/>
          <p:nvPr/>
        </p:nvCxnSpPr>
        <p:spPr>
          <a:xfrm>
            <a:off x="1490134" y="3020180"/>
            <a:ext cx="5208208" cy="1277258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610314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アクティビティパネルで「ファイルの存在を確認」を検索、</a:t>
            </a:r>
            <a:br>
              <a:rPr kumimoji="1" lang="en-US" altLang="ja-JP" sz="2000"/>
            </a:br>
            <a:r>
              <a:rPr kumimoji="1" lang="ja-JP" altLang="en-US" sz="2000"/>
              <a:t>「グループ」の中にドラッグ＆ドロップします。</a:t>
            </a: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295099EA-B506-2847-7400-4AF80439AF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00" y="1080000"/>
            <a:ext cx="9740836" cy="54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7691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「ファイルパス」で○＋をクリック、</a:t>
            </a:r>
            <a:br>
              <a:rPr kumimoji="1" lang="en-US" altLang="ja-JP" sz="2000"/>
            </a:br>
            <a:r>
              <a:rPr kumimoji="1" lang="ja-JP" altLang="en-US" sz="2000"/>
              <a:t>「テキスト」を選択します。</a:t>
            </a:r>
          </a:p>
        </p:txBody>
      </p:sp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DBEB12F7-E122-F71F-D611-0A4EC498A81F}"/>
              </a:ext>
            </a:extLst>
          </p:cNvPr>
          <p:cNvGrpSpPr/>
          <p:nvPr/>
        </p:nvGrpSpPr>
        <p:grpSpPr>
          <a:xfrm>
            <a:off x="720000" y="1080000"/>
            <a:ext cx="10800000" cy="3120000"/>
            <a:chOff x="720000" y="1080000"/>
            <a:chExt cx="10800000" cy="3120000"/>
          </a:xfrm>
        </p:grpSpPr>
        <p:pic>
          <p:nvPicPr>
            <p:cNvPr id="4" name="図 3">
              <a:extLst>
                <a:ext uri="{FF2B5EF4-FFF2-40B4-BE49-F238E27FC236}">
                  <a16:creationId xmlns:a16="http://schemas.microsoft.com/office/drawing/2014/main" id="{C3C08C9A-A89B-18D1-0FE8-8909B0EEC7A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20000" y="1080000"/>
              <a:ext cx="10800000" cy="3120000"/>
            </a:xfrm>
            <a:prstGeom prst="rect">
              <a:avLst/>
            </a:prstGeom>
          </p:spPr>
        </p:pic>
        <p:pic>
          <p:nvPicPr>
            <p:cNvPr id="6" name="図 5">
              <a:extLst>
                <a:ext uri="{FF2B5EF4-FFF2-40B4-BE49-F238E27FC236}">
                  <a16:creationId xmlns:a16="http://schemas.microsoft.com/office/drawing/2014/main" id="{A9BAC608-CE82-310D-0482-CEF1CF5BB25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t="4610" r="8691" b="1"/>
            <a:stretch/>
          </p:blipFill>
          <p:spPr>
            <a:xfrm>
              <a:off x="1083532" y="2192783"/>
              <a:ext cx="5974462" cy="568171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61BEB9A5-9A8C-B996-33E9-2F94CB07E1E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6190" t="-2994" r="14286" b="9321"/>
          <a:stretch>
            <a:fillRect/>
          </a:stretch>
        </p:blipFill>
        <p:spPr>
          <a:xfrm flipH="1">
            <a:off x="2972736" y="132419"/>
            <a:ext cx="484686" cy="33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61228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「</a:t>
            </a:r>
            <a:r>
              <a:rPr kumimoji="1" lang="en-US" altLang="ja-JP" sz="2000"/>
              <a:t>data.xlsx</a:t>
            </a:r>
            <a:r>
              <a:rPr kumimoji="1" lang="ja-JP" altLang="en-US" sz="2000"/>
              <a:t>」を入力、</a:t>
            </a:r>
            <a:br>
              <a:rPr kumimoji="1" lang="en-US" altLang="ja-JP" sz="2000"/>
            </a:br>
            <a:r>
              <a:rPr kumimoji="1" lang="ja-JP" altLang="en-US" sz="2000"/>
              <a:t>「保存」をクリックします。</a:t>
            </a: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4BE877BF-2D66-9A9D-B34D-81EF01B060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00" y="1080002"/>
            <a:ext cx="10800000" cy="5334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5474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「出力結果」で○＋をクリック、</a:t>
            </a:r>
            <a:br>
              <a:rPr kumimoji="1" lang="en-US" altLang="ja-JP" sz="2000"/>
            </a:br>
            <a:r>
              <a:rPr kumimoji="1" lang="ja-JP" altLang="en-US" sz="2000"/>
              <a:t>「変数を作成」を選択します。</a:t>
            </a:r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id="{46FA2D67-9CC3-92CA-F8BF-445EC8FF31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0000" y="1080001"/>
            <a:ext cx="10800000" cy="4206491"/>
          </a:xfrm>
          <a:prstGeom prst="rect">
            <a:avLst/>
          </a:prstGeom>
        </p:spPr>
      </p:pic>
      <p:pic>
        <p:nvPicPr>
          <p:cNvPr id="6" name="Picture 10">
            <a:extLst>
              <a:ext uri="{FF2B5EF4-FFF2-40B4-BE49-F238E27FC236}">
                <a16:creationId xmlns:a16="http://schemas.microsoft.com/office/drawing/2014/main" id="{622CE997-B5D0-B378-D188-3CD58B101C0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6190" t="-2994" r="14286" b="9321"/>
          <a:stretch>
            <a:fillRect/>
          </a:stretch>
        </p:blipFill>
        <p:spPr>
          <a:xfrm flipH="1">
            <a:off x="2460629" y="152739"/>
            <a:ext cx="484686" cy="33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80334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「変数に名前を付ける」に「ファイルが存在する」を入力、</a:t>
            </a:r>
            <a:br>
              <a:rPr kumimoji="1" lang="en-US" altLang="ja-JP" sz="2000"/>
            </a:br>
            <a:r>
              <a:rPr kumimoji="1" lang="ja-JP" altLang="en-US" sz="2000"/>
              <a:t>「</a:t>
            </a:r>
            <a:r>
              <a:rPr kumimoji="1" lang="en-US" altLang="ja-JP" sz="2000"/>
              <a:t>OK</a:t>
            </a:r>
            <a:r>
              <a:rPr kumimoji="1" lang="ja-JP" altLang="en-US" sz="2000"/>
              <a:t>」をクリックします。</a:t>
            </a:r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id="{E7BA44F3-4C6F-CD52-2782-A89130DCEF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00" y="1260000"/>
            <a:ext cx="8718313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0209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アクティビティパネルで「条件分岐 </a:t>
            </a:r>
            <a:r>
              <a:rPr kumimoji="1" lang="en-US" altLang="ja-JP" sz="2000"/>
              <a:t>(if)</a:t>
            </a:r>
            <a:r>
              <a:rPr kumimoji="1" lang="ja-JP" altLang="en-US" sz="2000"/>
              <a:t>」を検索、</a:t>
            </a:r>
            <a:br>
              <a:rPr kumimoji="1" lang="en-US" altLang="ja-JP" sz="2000"/>
            </a:br>
            <a:r>
              <a:rPr kumimoji="1" lang="ja-JP" altLang="en-US" sz="2000"/>
              <a:t>「ファイルの存在を確認」の下にドラッグ＆ドロップします。</a:t>
            </a:r>
            <a:br>
              <a:rPr kumimoji="1" lang="ja-JP" altLang="en-US" sz="2000"/>
            </a:br>
            <a:r>
              <a:rPr kumimoji="1" lang="ja-JP" altLang="en-US" sz="2000"/>
              <a:t>「条件」で○＋をクリック、</a:t>
            </a:r>
            <a:br>
              <a:rPr kumimoji="1" lang="en-US" altLang="ja-JP" sz="2000"/>
            </a:br>
            <a:r>
              <a:rPr kumimoji="1" lang="ja-JP" altLang="en-US" sz="2000"/>
              <a:t>「変数を使用」を選択します。</a:t>
            </a:r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id="{3AA609BE-80B5-03B0-6E97-06E7A28369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0000" y="1440000"/>
            <a:ext cx="10800000" cy="462587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8511775-12C8-DF48-572A-66ABD2D61D0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6190" t="-2994" r="14286" b="9321"/>
          <a:stretch>
            <a:fillRect/>
          </a:stretch>
        </p:blipFill>
        <p:spPr>
          <a:xfrm flipH="1">
            <a:off x="1974664" y="807952"/>
            <a:ext cx="395039" cy="273012"/>
          </a:xfrm>
          <a:prstGeom prst="rect">
            <a:avLst/>
          </a:prstGeom>
        </p:spPr>
      </p:pic>
      <p:pic>
        <p:nvPicPr>
          <p:cNvPr id="5" name="Picture 10">
            <a:extLst>
              <a:ext uri="{FF2B5EF4-FFF2-40B4-BE49-F238E27FC236}">
                <a16:creationId xmlns:a16="http://schemas.microsoft.com/office/drawing/2014/main" id="{261EE874-6FF8-E790-B44B-2AE1BBAF9C62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6190" t="-2994" r="14286" b="9321"/>
          <a:stretch>
            <a:fillRect/>
          </a:stretch>
        </p:blipFill>
        <p:spPr>
          <a:xfrm flipH="1">
            <a:off x="1954682" y="778660"/>
            <a:ext cx="484686" cy="33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18789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変数</a:t>
            </a:r>
            <a:r>
              <a:rPr lang="ja-JP" altLang="en-US" sz="2000"/>
              <a:t>の＞をクリックします</a:t>
            </a:r>
            <a:endParaRPr lang="en-US" altLang="ja-JP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3D0B52-7E3B-D012-E7AB-FEF9463A571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784" t="4513" r="12803" b="48440"/>
          <a:stretch>
            <a:fillRect/>
          </a:stretch>
        </p:blipFill>
        <p:spPr>
          <a:xfrm>
            <a:off x="715534" y="1134052"/>
            <a:ext cx="10809563" cy="4576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66585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2C57CB6-B4A0-A43A-9E1E-64D9497D28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4" y="2929862"/>
            <a:ext cx="10801351" cy="720000"/>
          </a:xfrm>
        </p:spPr>
        <p:txBody>
          <a:bodyPr anchor="ctr">
            <a:normAutofit/>
          </a:bodyPr>
          <a:lstStyle/>
          <a:p>
            <a:r>
              <a:rPr kumimoji="1" lang="ja-JP" altLang="en-US" sz="3600"/>
              <a:t>タスク作成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591900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変数「ファイルが存在する」を選択します。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7B8D1D9-AB3A-93AB-35D9-E1DC2F14443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330" t="2112" r="6342" b="41629"/>
          <a:stretch>
            <a:fillRect/>
          </a:stretch>
        </p:blipFill>
        <p:spPr>
          <a:xfrm>
            <a:off x="711910" y="1134530"/>
            <a:ext cx="10799959" cy="5256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7078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6D8CC9-742E-C69B-DD83-54BF91A07E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タイトル 2">
            <a:extLst>
              <a:ext uri="{FF2B5EF4-FFF2-40B4-BE49-F238E27FC236}">
                <a16:creationId xmlns:a16="http://schemas.microsoft.com/office/drawing/2014/main" id="{61CC15BA-13B7-4823-A5A3-D0B0C04BABB1}"/>
              </a:ext>
            </a:extLst>
          </p:cNvPr>
          <p:cNvSpPr txBox="1">
            <a:spLocks/>
          </p:cNvSpPr>
          <p:nvPr/>
        </p:nvSpPr>
        <p:spPr>
          <a:xfrm>
            <a:off x="698499" y="180000"/>
            <a:ext cx="11215099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kumimoji="1" sz="28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sz="2000"/>
              <a:t>アクティビティパネルで「</a:t>
            </a:r>
            <a:r>
              <a:rPr lang="en-US" altLang="ja-JP" sz="2000">
                <a:ea typeface="+mj-lt"/>
              </a:rPr>
              <a:t>1 </a:t>
            </a:r>
            <a:r>
              <a:rPr lang="ja-JP" sz="2000"/>
              <a:t>行を書き込み」を検索、</a:t>
            </a:r>
            <a:br>
              <a:rPr lang="ja-JP" altLang="en-US" sz="2000">
                <a:cs typeface="Arial"/>
              </a:rPr>
            </a:br>
            <a:r>
              <a:rPr lang="ja-JP" sz="2000"/>
              <a:t>「</a:t>
            </a:r>
            <a:r>
              <a:rPr lang="en-US" sz="2000">
                <a:ea typeface="+mj-lt"/>
              </a:rPr>
              <a:t>Then</a:t>
            </a:r>
            <a:r>
              <a:rPr lang="ja-JP" sz="2000"/>
              <a:t>」の中にドラッグ＆ドロップします。</a:t>
            </a:r>
            <a:br>
              <a:rPr lang="ja-JP" altLang="en-US" sz="2000"/>
            </a:br>
            <a:r>
              <a:rPr lang="ja-JP" altLang="en-US" sz="2000"/>
              <a:t>「テキスト」で○＋をクリック、</a:t>
            </a:r>
            <a:br>
              <a:rPr lang="en-US" altLang="ja-JP" sz="2000"/>
            </a:br>
            <a:r>
              <a:rPr lang="ja-JP" altLang="en-US" sz="2000"/>
              <a:t>「テキストビルダーを開く」を選択します。</a:t>
            </a:r>
            <a:endParaRPr lang="en-US" altLang="ja-JP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10F572-0215-33F5-6F3E-55034F828C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3746" y="1507368"/>
            <a:ext cx="8278888" cy="4641547"/>
          </a:xfrm>
          <a:prstGeom prst="rect">
            <a:avLst/>
          </a:prstGeom>
        </p:spPr>
      </p:pic>
      <p:pic>
        <p:nvPicPr>
          <p:cNvPr id="3" name="Picture 10">
            <a:extLst>
              <a:ext uri="{FF2B5EF4-FFF2-40B4-BE49-F238E27FC236}">
                <a16:creationId xmlns:a16="http://schemas.microsoft.com/office/drawing/2014/main" id="{F68F5521-EA1D-441D-BE34-D4ACBD2C9B9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6190" t="-2994" r="14286" b="9321"/>
          <a:stretch>
            <a:fillRect/>
          </a:stretch>
        </p:blipFill>
        <p:spPr>
          <a:xfrm flipH="1">
            <a:off x="2472318" y="769315"/>
            <a:ext cx="484686" cy="33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71819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B829E5-ECBD-05EA-4DC1-979843D415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1BC2418E-94BC-83E4-6ABB-101ABB3F94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「</a:t>
            </a:r>
            <a:r>
              <a:rPr lang="ja-JP" altLang="en-US" sz="2000"/>
              <a:t>テキストビルダー</a:t>
            </a:r>
            <a:r>
              <a:rPr kumimoji="1" lang="ja-JP" altLang="en-US" sz="2000"/>
              <a:t>」に「ファイルが存在します。」を入力します。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425DF58-80AF-2FCF-54E5-26CEED3A2D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884" y="1282819"/>
            <a:ext cx="7183288" cy="4939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14860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アクティビティパネルで「</a:t>
            </a:r>
            <a:r>
              <a:rPr kumimoji="1" lang="en-US" altLang="ja-JP" sz="2000"/>
              <a:t>Download File from URL</a:t>
            </a:r>
            <a:r>
              <a:rPr kumimoji="1" lang="ja-JP" altLang="en-US" sz="2000"/>
              <a:t>」を検索、</a:t>
            </a:r>
            <a:br>
              <a:rPr kumimoji="1" lang="en-US" altLang="ja-JP" sz="2000"/>
            </a:br>
            <a:r>
              <a:rPr kumimoji="1" lang="ja-JP" altLang="en-US" sz="2000"/>
              <a:t>「</a:t>
            </a:r>
            <a:r>
              <a:rPr kumimoji="1" lang="en-US" altLang="ja-JP" sz="2000"/>
              <a:t>Else</a:t>
            </a:r>
            <a:r>
              <a:rPr kumimoji="1" lang="ja-JP" altLang="en-US" sz="2000"/>
              <a:t>」の中にドラッグ＆ドロップします。</a:t>
            </a:r>
            <a:br>
              <a:rPr kumimoji="1" lang="ja-JP" altLang="en-US" sz="2000"/>
            </a:br>
            <a:r>
              <a:rPr kumimoji="1" lang="ja-JP" altLang="en-US" sz="2000"/>
              <a:t>「</a:t>
            </a:r>
            <a:r>
              <a:rPr kumimoji="1" lang="en-US" altLang="ja-JP" sz="2000"/>
              <a:t>URL</a:t>
            </a:r>
            <a:r>
              <a:rPr kumimoji="1" lang="ja-JP" altLang="en-US" sz="2000"/>
              <a:t>」で○＋をクリック、</a:t>
            </a:r>
            <a:br>
              <a:rPr kumimoji="1" lang="en-US" altLang="ja-JP" sz="2000"/>
            </a:br>
            <a:r>
              <a:rPr kumimoji="1" lang="ja-JP" altLang="en-US" sz="2000"/>
              <a:t>「テキストビルダーを開く」を選択します。</a:t>
            </a:r>
          </a:p>
        </p:txBody>
      </p:sp>
      <p:pic>
        <p:nvPicPr>
          <p:cNvPr id="8" name="図 7" descr="グラフィカル ユーザー インターフェイス, テキスト, アプリケーション&#10;&#10;AI 生成コンテンツは間違っている可能性があります。">
            <a:extLst>
              <a:ext uri="{FF2B5EF4-FFF2-40B4-BE49-F238E27FC236}">
                <a16:creationId xmlns:a16="http://schemas.microsoft.com/office/drawing/2014/main" id="{77B22DE4-B366-209A-94A4-175829C272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850" y="1563342"/>
            <a:ext cx="10782300" cy="4476750"/>
          </a:xfrm>
          <a:prstGeom prst="rect">
            <a:avLst/>
          </a:prstGeom>
        </p:spPr>
      </p:pic>
      <p:pic>
        <p:nvPicPr>
          <p:cNvPr id="4" name="Picture 10">
            <a:extLst>
              <a:ext uri="{FF2B5EF4-FFF2-40B4-BE49-F238E27FC236}">
                <a16:creationId xmlns:a16="http://schemas.microsoft.com/office/drawing/2014/main" id="{8135B7B1-3BB4-CFFD-E747-69A2076B8818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6190" t="-2994" r="14286" b="9321"/>
          <a:stretch>
            <a:fillRect/>
          </a:stretch>
        </p:blipFill>
        <p:spPr>
          <a:xfrm flipH="1">
            <a:off x="1971900" y="769315"/>
            <a:ext cx="484686" cy="33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73990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「</a:t>
            </a:r>
            <a:r>
              <a:rPr kumimoji="1" lang="en-US" altLang="ja-JP" sz="2000"/>
              <a:t>The full URL used to retrieve the file from.</a:t>
            </a:r>
            <a:r>
              <a:rPr kumimoji="1" lang="ja-JP" altLang="en-US" sz="2000"/>
              <a:t>」に</a:t>
            </a:r>
            <a:br>
              <a:rPr kumimoji="1" lang="en-US" altLang="ja-JP" sz="2000"/>
            </a:br>
            <a:r>
              <a:rPr kumimoji="1" lang="ja-JP" altLang="en-US" sz="2000"/>
              <a:t>「</a:t>
            </a:r>
            <a:r>
              <a:rPr kumimoji="1" lang="en-US" altLang="ja-JP" sz="2000"/>
              <a:t>https://www.expense-demo.com/data.xlsx</a:t>
            </a:r>
            <a:r>
              <a:rPr kumimoji="1" lang="ja-JP" altLang="en-US" sz="2000"/>
              <a:t>」を入力、</a:t>
            </a:r>
            <a:br>
              <a:rPr kumimoji="1" lang="en-US" altLang="ja-JP" sz="2000"/>
            </a:br>
            <a:r>
              <a:rPr kumimoji="1" lang="ja-JP" altLang="en-US" sz="2000"/>
              <a:t>「保存」をクリックします。</a:t>
            </a:r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id="{EE821F89-982D-E217-91C6-85580381A3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0005" y="1260000"/>
            <a:ext cx="7298065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09758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F05F9B66-8DAC-0875-EBBE-1DDB8C7946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007" y="-106421"/>
            <a:ext cx="11227194" cy="1820666"/>
          </a:xfrm>
        </p:spPr>
        <p:txBody>
          <a:bodyPr/>
          <a:lstStyle/>
          <a:p>
            <a:r>
              <a:rPr lang="ja-JP" altLang="en-US" sz="2000">
                <a:cs typeface="Arial"/>
              </a:rPr>
              <a:t>詳細オプションを</a:t>
            </a:r>
            <a:r>
              <a:rPr lang="ja-JP" altLang="en-US" sz="2000">
                <a:ea typeface="メイリオ"/>
                <a:cs typeface="Arial"/>
              </a:rPr>
              <a:t>表示をクリックし、</a:t>
            </a:r>
            <a:br>
              <a:rPr lang="ja-JP" sz="2000">
                <a:cs typeface="Arial"/>
              </a:rPr>
            </a:br>
            <a:r>
              <a:rPr lang="ja-JP" sz="2000">
                <a:cs typeface="Arial"/>
              </a:rPr>
              <a:t>「</a:t>
            </a:r>
            <a:r>
              <a:rPr lang="en-US" altLang="ja-JP" sz="2000">
                <a:cs typeface="Arial"/>
              </a:rPr>
              <a:t>S</a:t>
            </a:r>
            <a:r>
              <a:rPr lang="en-US" altLang="ja-JP" sz="2000">
                <a:ea typeface="メイリオ"/>
                <a:cs typeface="Arial"/>
              </a:rPr>
              <a:t>a</a:t>
            </a:r>
            <a:r>
              <a:rPr lang="en-US" altLang="ja-JP" sz="2000">
                <a:cs typeface="Arial"/>
              </a:rPr>
              <a:t>ve file As</a:t>
            </a:r>
            <a:r>
              <a:rPr lang="ja-JP" sz="2000">
                <a:cs typeface="Arial"/>
              </a:rPr>
              <a:t>」で○＋をクリック、</a:t>
            </a:r>
            <a:br>
              <a:rPr lang="ja-JP" sz="2000">
                <a:cs typeface="Arial"/>
              </a:rPr>
            </a:br>
            <a:r>
              <a:rPr lang="ja-JP" sz="2000">
                <a:cs typeface="Arial"/>
              </a:rPr>
              <a:t>「テキストビルダーを開く」を選択します。</a:t>
            </a:r>
            <a:endParaRPr lang="ja-JP" sz="2000" b="0">
              <a:solidFill>
                <a:srgbClr val="000000"/>
              </a:solidFill>
              <a:cs typeface="Arial"/>
            </a:endParaRPr>
          </a:p>
          <a:p>
            <a:endParaRPr lang="ja-JP" altLang="en-US">
              <a:cs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E2B2B5-A25C-42C0-AF4D-5232D52230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9339" y="1832202"/>
            <a:ext cx="5144558" cy="418540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B96B49C-4135-5CC3-C795-8A14E98F165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6190" t="-2994" r="14286" b="9321"/>
          <a:stretch>
            <a:fillRect/>
          </a:stretch>
        </p:blipFill>
        <p:spPr>
          <a:xfrm flipH="1">
            <a:off x="2858893" y="408028"/>
            <a:ext cx="392381" cy="314408"/>
          </a:xfrm>
          <a:prstGeom prst="rect">
            <a:avLst/>
          </a:prstGeom>
        </p:spPr>
      </p:pic>
      <p:pic>
        <p:nvPicPr>
          <p:cNvPr id="4" name="Picture 10">
            <a:extLst>
              <a:ext uri="{FF2B5EF4-FFF2-40B4-BE49-F238E27FC236}">
                <a16:creationId xmlns:a16="http://schemas.microsoft.com/office/drawing/2014/main" id="{7D2BC119-3FF2-0D8A-4075-58B51759FB8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6190" t="-2994" r="14286" b="9321"/>
          <a:stretch>
            <a:fillRect/>
          </a:stretch>
        </p:blipFill>
        <p:spPr>
          <a:xfrm flipH="1">
            <a:off x="2847632" y="405374"/>
            <a:ext cx="484686" cy="33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44660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85E1F0-B536-0695-7910-14083B12D3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1429B01A-09D5-826D-EE39-F8660C91C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218366"/>
            <a:ext cx="11227194" cy="1107047"/>
          </a:xfrm>
        </p:spPr>
        <p:txBody>
          <a:bodyPr/>
          <a:lstStyle/>
          <a:p>
            <a:r>
              <a:rPr lang="ja-JP" altLang="en-US" sz="2000">
                <a:cs typeface="Arial"/>
              </a:rPr>
              <a:t>テキストビルダーに「data.xlsx」を入力、</a:t>
            </a:r>
            <a:br>
              <a:rPr lang="ja-JP" altLang="en-US" sz="2000">
                <a:cs typeface="Arial"/>
              </a:rPr>
            </a:br>
            <a:r>
              <a:rPr lang="ja-JP" altLang="en-US" sz="2000">
                <a:cs typeface="Arial"/>
              </a:rPr>
              <a:t>保存をクリックします。</a:t>
            </a:r>
            <a:endParaRPr lang="ja-JP" sz="2000">
              <a:cs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B756AAB-56A6-BE4B-B52A-CD627C3BE1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667" y="1156834"/>
            <a:ext cx="7532763" cy="5161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40932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F02D2B-1C09-975B-AAC2-9E0BE64086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55F171F-6B5E-1D65-D395-124D9136A1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8845" y="1488017"/>
            <a:ext cx="4166053" cy="4743147"/>
          </a:xfrm>
          <a:prstGeom prst="rect">
            <a:avLst/>
          </a:prstGeom>
        </p:spPr>
      </p:pic>
      <p:sp>
        <p:nvSpPr>
          <p:cNvPr id="7" name="タイトル 2">
            <a:extLst>
              <a:ext uri="{FF2B5EF4-FFF2-40B4-BE49-F238E27FC236}">
                <a16:creationId xmlns:a16="http://schemas.microsoft.com/office/drawing/2014/main" id="{7109D713-46CE-88B3-3F33-DBD944A85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218366"/>
            <a:ext cx="11227194" cy="1107047"/>
          </a:xfrm>
        </p:spPr>
        <p:txBody>
          <a:bodyPr/>
          <a:lstStyle/>
          <a:p>
            <a:r>
              <a:rPr lang="ja-JP" sz="2000">
                <a:ea typeface="+mj-lt"/>
                <a:cs typeface="+mj-lt"/>
              </a:rPr>
              <a:t>「If file already exists」の右端「Ｖ」をクリック</a:t>
            </a:r>
            <a:r>
              <a:rPr lang="ja-JP" altLang="en-US" sz="2000">
                <a:ea typeface="+mj-lt"/>
                <a:cs typeface="+mj-lt"/>
              </a:rPr>
              <a:t>し、</a:t>
            </a:r>
            <a:br>
              <a:rPr lang="ja-JP" altLang="en-US" sz="2000">
                <a:ea typeface="+mj-lt"/>
                <a:cs typeface="+mj-lt"/>
              </a:rPr>
            </a:br>
            <a:r>
              <a:rPr lang="ja-JP" sz="2000">
                <a:ea typeface="+mj-lt"/>
                <a:cs typeface="+mj-lt"/>
              </a:rPr>
              <a:t>「Replace」を選択</a:t>
            </a:r>
            <a:r>
              <a:rPr lang="ja-JP" altLang="en-US" sz="2000">
                <a:ea typeface="+mj-lt"/>
                <a:cs typeface="+mj-lt"/>
              </a:rPr>
              <a:t>します。</a:t>
            </a:r>
            <a:endParaRPr lang="ja-JP" sz="20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4743836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 descr="グラフィカル ユーザー インターフェイス, アプリケーション&#10;&#10;AI 生成コンテンツは間違っている可能性があります。">
            <a:extLst>
              <a:ext uri="{FF2B5EF4-FFF2-40B4-BE49-F238E27FC236}">
                <a16:creationId xmlns:a16="http://schemas.microsoft.com/office/drawing/2014/main" id="{FC2E9BC6-DE91-61BD-E282-CF6F36CE9A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5679" y="1634867"/>
            <a:ext cx="6237989" cy="4704686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アクティビティパネルで「</a:t>
            </a:r>
            <a:r>
              <a:rPr lang="en-US" altLang="ja-JP" sz="2000">
                <a:ea typeface="メイリオ"/>
                <a:cs typeface="+mj-lt"/>
              </a:rPr>
              <a:t>1 </a:t>
            </a:r>
            <a:r>
              <a:rPr lang="ja-JP" altLang="en-US" sz="2000">
                <a:ea typeface="メイリオ"/>
                <a:cs typeface="+mj-lt"/>
              </a:rPr>
              <a:t>行を書き込み</a:t>
            </a:r>
            <a:r>
              <a:rPr kumimoji="1" lang="ja-JP" altLang="en-US" sz="2000"/>
              <a:t>」を検索、</a:t>
            </a:r>
            <a:br>
              <a:rPr lang="en-US" altLang="ja-JP" sz="2000" dirty="0"/>
            </a:br>
            <a:r>
              <a:rPr kumimoji="1" lang="ja-JP" altLang="en-US" sz="2000"/>
              <a:t>「</a:t>
            </a:r>
            <a:r>
              <a:rPr lang="ja-JP" altLang="en-US" sz="2000"/>
              <a:t>Download File from URL</a:t>
            </a:r>
            <a:r>
              <a:rPr kumimoji="1" lang="ja-JP" altLang="en-US" sz="2000"/>
              <a:t>」の下にドラッグ＆ドロップします。</a:t>
            </a:r>
            <a:br>
              <a:rPr lang="ja-JP" altLang="en-US" sz="2000" dirty="0"/>
            </a:br>
            <a:r>
              <a:rPr kumimoji="1" lang="ja-JP" altLang="en-US" sz="2000"/>
              <a:t>「テキスト</a:t>
            </a:r>
            <a:r>
              <a:rPr lang="ja-JP" altLang="en-US" sz="2000"/>
              <a:t>ビルダー</a:t>
            </a:r>
            <a:r>
              <a:rPr kumimoji="1" lang="ja-JP" altLang="en-US" sz="2000"/>
              <a:t>」</a:t>
            </a:r>
            <a:r>
              <a:rPr lang="ja-JP" sz="2000"/>
              <a:t>で○＋をクリッ</a:t>
            </a:r>
            <a:r>
              <a:rPr lang="ja-JP" altLang="en-US" sz="2000"/>
              <a:t>ク、</a:t>
            </a:r>
            <a:br>
              <a:rPr lang="ja-JP" altLang="en-US" sz="2000" dirty="0"/>
            </a:br>
            <a:r>
              <a:rPr kumimoji="1" lang="ja-JP" sz="2000"/>
              <a:t>「</a:t>
            </a:r>
            <a:r>
              <a:rPr lang="ja-JP" sz="2000"/>
              <a:t>テキストビ</a:t>
            </a:r>
            <a:r>
              <a:rPr kumimoji="1" lang="ja-JP" sz="2000"/>
              <a:t>ルダー</a:t>
            </a:r>
            <a:r>
              <a:rPr lang="ja-JP" sz="2000"/>
              <a:t>を開く</a:t>
            </a:r>
            <a:r>
              <a:rPr kumimoji="1" lang="ja-JP" sz="2000"/>
              <a:t>」を</a:t>
            </a:r>
            <a:r>
              <a:rPr lang="ja-JP" sz="2000"/>
              <a:t>選択</a:t>
            </a:r>
            <a:r>
              <a:rPr kumimoji="1" lang="ja-JP" sz="2000"/>
              <a:t>します。</a:t>
            </a:r>
            <a:endParaRPr lang="ja-JP" sz="2000" b="0">
              <a:solidFill>
                <a:srgbClr val="000000"/>
              </a:solidFill>
            </a:endParaRPr>
          </a:p>
          <a:p>
            <a:endParaRPr lang="ja-JP" b="0" dirty="0">
              <a:solidFill>
                <a:srgbClr val="000000"/>
              </a:solidFill>
            </a:endParaRPr>
          </a:p>
          <a:p>
            <a:endParaRPr lang="ja-JP" altLang="en-US" sz="2000" dirty="0">
              <a:cs typeface="Arial"/>
            </a:endParaRPr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1E7F57B4-B72A-1CCF-7AF9-7B5C094B4EDE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6190" t="-2994" r="14286" b="9321"/>
          <a:stretch>
            <a:fillRect/>
          </a:stretch>
        </p:blipFill>
        <p:spPr>
          <a:xfrm flipH="1">
            <a:off x="3483483" y="757799"/>
            <a:ext cx="429856" cy="351883"/>
          </a:xfrm>
          <a:prstGeom prst="rect">
            <a:avLst/>
          </a:prstGeom>
        </p:spPr>
      </p:pic>
      <p:pic>
        <p:nvPicPr>
          <p:cNvPr id="5" name="Picture 10">
            <a:extLst>
              <a:ext uri="{FF2B5EF4-FFF2-40B4-BE49-F238E27FC236}">
                <a16:creationId xmlns:a16="http://schemas.microsoft.com/office/drawing/2014/main" id="{8965356E-6DFD-9DE0-8555-419FFD520B2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6190" t="-2994" r="14286" b="9321"/>
          <a:stretch>
            <a:fillRect/>
          </a:stretch>
        </p:blipFill>
        <p:spPr>
          <a:xfrm flipH="1">
            <a:off x="3484527" y="792061"/>
            <a:ext cx="484686" cy="33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84694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「</a:t>
            </a:r>
            <a:r>
              <a:rPr lang="ja-JP" altLang="en-US" sz="2000"/>
              <a:t>テキストビルダー</a:t>
            </a:r>
            <a:r>
              <a:rPr kumimoji="1" lang="ja-JP" altLang="en-US" sz="2000"/>
              <a:t>」に「</a:t>
            </a:r>
            <a:r>
              <a:rPr kumimoji="1" lang="ja-JP" altLang="en-US" sz="2000">
                <a:ea typeface="メイリオ"/>
                <a:cs typeface="+mj-lt"/>
              </a:rPr>
              <a:t>ファイル</a:t>
            </a:r>
            <a:r>
              <a:rPr lang="ja-JP" altLang="en-US" sz="2000">
                <a:ea typeface="メイリオ"/>
                <a:cs typeface="+mj-lt"/>
              </a:rPr>
              <a:t>を URL からダウンロード</a:t>
            </a:r>
            <a:r>
              <a:rPr kumimoji="1" lang="ja-JP" altLang="en-US" sz="2000">
                <a:ea typeface="メイリオ"/>
                <a:cs typeface="+mj-lt"/>
              </a:rPr>
              <a:t>しま</a:t>
            </a:r>
            <a:r>
              <a:rPr lang="ja-JP" altLang="en-US" sz="2000">
                <a:ea typeface="メイリオ"/>
                <a:cs typeface="+mj-lt"/>
              </a:rPr>
              <a:t>した</a:t>
            </a:r>
            <a:r>
              <a:rPr kumimoji="1" lang="ja-JP" altLang="en-US" sz="2000">
                <a:ea typeface="メイリオ"/>
                <a:cs typeface="+mj-lt"/>
              </a:rPr>
              <a:t>。</a:t>
            </a:r>
            <a:r>
              <a:rPr kumimoji="1" lang="ja-JP" altLang="en-US" sz="2000"/>
              <a:t>」を入力します。</a:t>
            </a:r>
          </a:p>
        </p:txBody>
      </p:sp>
      <p:pic>
        <p:nvPicPr>
          <p:cNvPr id="2" name="図 1" descr="グラフィカル ユーザー インターフェイス, テキスト, アプリケーション, メール&#10;&#10;AI 生成コンテンツは間違っている可能性があります。">
            <a:extLst>
              <a:ext uri="{FF2B5EF4-FFF2-40B4-BE49-F238E27FC236}">
                <a16:creationId xmlns:a16="http://schemas.microsoft.com/office/drawing/2014/main" id="{07836927-DF9F-716F-7560-A43436E2F1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2772" y="1282222"/>
            <a:ext cx="7295497" cy="5034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38836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596525D-CF86-AFFE-ABB0-2DAB5E0A1F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285" y="1227496"/>
            <a:ext cx="10014857" cy="5285960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7713D808-FC32-BB9E-7032-0A0A914D9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2000">
                <a:ea typeface="+mj-lt"/>
                <a:cs typeface="Arial"/>
              </a:rPr>
              <a:t>UiPath Studio</a:t>
            </a:r>
            <a:r>
              <a:rPr lang="ja-JP" sz="2000">
                <a:cs typeface="Arial"/>
              </a:rPr>
              <a:t>を起動し</a:t>
            </a:r>
            <a:r>
              <a:rPr lang="ja-JP" altLang="en-US" sz="2000">
                <a:cs typeface="Arial"/>
              </a:rPr>
              <a:t>ます。</a:t>
            </a:r>
          </a:p>
        </p:txBody>
      </p:sp>
    </p:spTree>
    <p:extLst>
      <p:ext uri="{BB962C8B-B14F-4D97-AF65-F5344CB8AC3E}">
        <p14:creationId xmlns:p14="http://schemas.microsoft.com/office/powerpoint/2010/main" val="181799986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lang="ja-JP" sz="2000" dirty="0">
                <a:cs typeface="Arial"/>
              </a:rPr>
              <a:t>以上で</a:t>
            </a:r>
            <a:r>
              <a:rPr lang="ja-JP" altLang="en-US" sz="2000" dirty="0">
                <a:cs typeface="Arial"/>
              </a:rPr>
              <a:t>「</a:t>
            </a:r>
            <a:r>
              <a:rPr lang="en-US" altLang="ja-JP" sz="2000" dirty="0">
                <a:cs typeface="Arial"/>
              </a:rPr>
              <a:t>URL</a:t>
            </a:r>
            <a:r>
              <a:rPr lang="ja-JP" altLang="en-US" sz="2000" dirty="0">
                <a:cs typeface="Arial"/>
              </a:rPr>
              <a:t>からファイルをダウンロード」パート</a:t>
            </a:r>
            <a:r>
              <a:rPr lang="ja-JP" sz="2000" dirty="0">
                <a:cs typeface="Arial"/>
              </a:rPr>
              <a:t>は完成です</a:t>
            </a:r>
            <a:r>
              <a:rPr lang="ja-JP" altLang="en-US" sz="2000" dirty="0">
                <a:cs typeface="Arial"/>
              </a:rPr>
              <a:t>。</a:t>
            </a:r>
            <a:br>
              <a:rPr lang="ja-JP" altLang="en-US" sz="2000" dirty="0"/>
            </a:br>
            <a:r>
              <a:rPr lang="ja-JP" altLang="en-US" sz="2000" dirty="0"/>
              <a:t>リボンで</a:t>
            </a:r>
            <a:r>
              <a:rPr kumimoji="1" lang="ja-JP" altLang="en-US" sz="2000" dirty="0"/>
              <a:t>「実行」をクリック</a:t>
            </a:r>
            <a:r>
              <a:rPr lang="ja-JP" altLang="en-US" sz="2000" dirty="0"/>
              <a:t>すると、下記リンク先ビデオのように動作</a:t>
            </a:r>
            <a:r>
              <a:rPr kumimoji="1" lang="ja-JP" altLang="en-US" sz="2000" dirty="0"/>
              <a:t>します。</a:t>
            </a:r>
            <a:endParaRPr lang="en-US" altLang="ja-JP" dirty="0"/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B5C306EE-5334-1231-6395-56AFF015EAEB}"/>
              </a:ext>
            </a:extLst>
          </p:cNvPr>
          <p:cNvGrpSpPr/>
          <p:nvPr/>
        </p:nvGrpSpPr>
        <p:grpSpPr>
          <a:xfrm>
            <a:off x="719999" y="1080000"/>
            <a:ext cx="10800000" cy="1336341"/>
            <a:chOff x="719999" y="1080000"/>
            <a:chExt cx="10800000" cy="1336341"/>
          </a:xfrm>
        </p:grpSpPr>
        <p:pic>
          <p:nvPicPr>
            <p:cNvPr id="2" name="図 1">
              <a:extLst>
                <a:ext uri="{FF2B5EF4-FFF2-40B4-BE49-F238E27FC236}">
                  <a16:creationId xmlns:a16="http://schemas.microsoft.com/office/drawing/2014/main" id="{CB6E8CCE-C367-E7DD-5EED-5FFD0CCD04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19999" y="1080000"/>
              <a:ext cx="10800000" cy="1336341"/>
            </a:xfrm>
            <a:prstGeom prst="rect">
              <a:avLst/>
            </a:prstGeom>
          </p:spPr>
        </p:pic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7FF80D81-B249-5048-D296-D27E96931183}"/>
                </a:ext>
              </a:extLst>
            </p:cNvPr>
            <p:cNvSpPr/>
            <p:nvPr/>
          </p:nvSpPr>
          <p:spPr>
            <a:xfrm>
              <a:off x="10080000" y="1440000"/>
              <a:ext cx="504000" cy="936000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ja-JP" altLang="en-US"/>
            </a:p>
          </p:txBody>
        </p:sp>
      </p:grp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4FEA1C69-12E6-ED07-1EDD-1F727F24ECCB}"/>
              </a:ext>
            </a:extLst>
          </p:cNvPr>
          <p:cNvSpPr txBox="1"/>
          <p:nvPr/>
        </p:nvSpPr>
        <p:spPr>
          <a:xfrm>
            <a:off x="1799999" y="3600000"/>
            <a:ext cx="8352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 fontAlgn="ctr">
              <a:spcBef>
                <a:spcPts val="0"/>
              </a:spcBef>
              <a:spcAft>
                <a:spcPts val="0"/>
              </a:spcAft>
            </a:pPr>
            <a:r>
              <a:rPr lang="ja-JP" altLang="ja-JP" sz="1800">
                <a:effectLst/>
                <a:latin typeface="+mn-ea"/>
                <a:hlinkClick r:id="rId4"/>
              </a:rPr>
              <a:t>https://jeragroup.sharepoint.com/sites/Jenny1/Shared%20Documents/General/@共有ファイル/20_教育資料/数分でマスターできる超入門ミニロボ</a:t>
            </a:r>
            <a:r>
              <a:rPr lang="en-US" altLang="ja-JP" sz="1800">
                <a:effectLst/>
                <a:latin typeface="+mn-ea"/>
                <a:hlinkClick r:id="rId4"/>
              </a:rPr>
              <a:t>/</a:t>
            </a:r>
            <a:r>
              <a:rPr lang="ja-JP" altLang="ja-JP" sz="1800">
                <a:effectLst/>
                <a:latin typeface="+mn-ea"/>
                <a:hlinkClick r:id="rId4"/>
              </a:rPr>
              <a:t>市民開発サポート要員スキル向上/05_Excelとブラウザ操作</a:t>
            </a:r>
            <a:r>
              <a:rPr lang="en-US" altLang="ja-JP" sz="1800">
                <a:effectLst/>
                <a:latin typeface="+mn-ea"/>
                <a:hlinkClick r:id="rId4"/>
              </a:rPr>
              <a:t>/</a:t>
            </a:r>
            <a:r>
              <a:rPr lang="ja-JP" altLang="ja-JP" sz="1800">
                <a:effectLst/>
                <a:latin typeface="+mn-ea"/>
                <a:hlinkClick r:id="rId4"/>
              </a:rPr>
              <a:t>ロボ作成動画</a:t>
            </a:r>
            <a:r>
              <a:rPr lang="en-US" altLang="ja-JP" sz="1800">
                <a:effectLst/>
                <a:latin typeface="+mn-ea"/>
                <a:hlinkClick r:id="rId4"/>
              </a:rPr>
              <a:t>/</a:t>
            </a:r>
            <a:r>
              <a:rPr lang="ja-JP" altLang="ja-JP" sz="1800">
                <a:effectLst/>
                <a:latin typeface="+mn-ea"/>
                <a:hlinkClick r:id="rId4"/>
              </a:rPr>
              <a:t>作成動画②_事前準備</a:t>
            </a:r>
            <a:r>
              <a:rPr lang="en-US" altLang="ja-JP" sz="1800">
                <a:effectLst/>
                <a:latin typeface="+mn-ea"/>
                <a:hlinkClick r:id="rId4"/>
              </a:rPr>
              <a:t>.mp4</a:t>
            </a:r>
            <a:endParaRPr lang="ja-JP" altLang="ja-JP" sz="1800" dirty="0">
              <a:effectLst/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4714739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リボンで「プロジェクト」「プロジェクトフォルダーを開く」をクリックします。</a:t>
            </a:r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id="{EFB5D525-37E6-777C-9170-EB936AB570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00" y="1080000"/>
            <a:ext cx="10800000" cy="4094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61018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「</a:t>
            </a:r>
            <a:r>
              <a:rPr kumimoji="1" lang="en-US" altLang="ja-JP" sz="2000"/>
              <a:t>data.xlsx</a:t>
            </a:r>
            <a:r>
              <a:rPr kumimoji="1" lang="ja-JP" altLang="en-US" sz="2000"/>
              <a:t>」ダウンロード成功を確認します。</a:t>
            </a:r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id="{879EDAA0-8A8F-8729-FF1A-BBDBBB7454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00" y="1080000"/>
            <a:ext cx="3311025" cy="54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26455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2C57CB6-B4A0-A43A-9E1E-64D9497D28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4" y="2929862"/>
            <a:ext cx="10801351" cy="720000"/>
          </a:xfrm>
        </p:spPr>
        <p:txBody>
          <a:bodyPr anchor="ctr">
            <a:normAutofit/>
          </a:bodyPr>
          <a:lstStyle/>
          <a:p>
            <a:r>
              <a:rPr lang="en-US" altLang="ja-JP"/>
              <a:t>Excel</a:t>
            </a:r>
            <a:r>
              <a:rPr lang="ja-JP" altLang="en-US"/>
              <a:t>とブラウザ操作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793241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43D40EF-2572-A30E-B41D-C7695451BB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325" y="1255486"/>
            <a:ext cx="9982200" cy="5232852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アクティビティパネルで「グループ」を検索、</a:t>
            </a:r>
            <a:br>
              <a:rPr kumimoji="1" lang="en-US" altLang="ja-JP" sz="2000"/>
            </a:br>
            <a:r>
              <a:rPr kumimoji="1" lang="ja-JP" altLang="en-US" sz="2000"/>
              <a:t>デザイナーパネルにドラッグ＆ドロップします。</a:t>
            </a:r>
            <a:br>
              <a:rPr kumimoji="1" lang="en-US" altLang="ja-JP" sz="2000"/>
            </a:br>
            <a:r>
              <a:rPr kumimoji="1" lang="ja-JP" altLang="en-US" sz="2000"/>
              <a:t>（</a:t>
            </a:r>
            <a:r>
              <a:rPr lang="ja-JP" altLang="en-US" sz="2000"/>
              <a:t>グループ</a:t>
            </a:r>
            <a:r>
              <a:rPr kumimoji="1" lang="ja-JP" altLang="en-US" sz="2000"/>
              <a:t>の名前を「</a:t>
            </a:r>
            <a:r>
              <a:rPr kumimoji="1" lang="en-US" altLang="ja-JP" sz="2000"/>
              <a:t>Excel</a:t>
            </a:r>
            <a:r>
              <a:rPr kumimoji="1" lang="ja-JP" altLang="en-US" sz="2000"/>
              <a:t>とブラウザ操作」に変更）</a:t>
            </a: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D9CF861A-D2DD-C837-53E4-22AA434CB81D}"/>
              </a:ext>
            </a:extLst>
          </p:cNvPr>
          <p:cNvGrpSpPr>
            <a:grpSpLocks noChangeAspect="1"/>
          </p:cNvGrpSpPr>
          <p:nvPr/>
        </p:nvGrpSpPr>
        <p:grpSpPr>
          <a:xfrm>
            <a:off x="868598" y="2558010"/>
            <a:ext cx="2176691" cy="553298"/>
            <a:chOff x="869007" y="2470728"/>
            <a:chExt cx="2332169" cy="592820"/>
          </a:xfrm>
        </p:grpSpPr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4C27459E-FA66-7E80-9790-0E9C2A8F53B6}"/>
                </a:ext>
              </a:extLst>
            </p:cNvPr>
            <p:cNvSpPr/>
            <p:nvPr/>
          </p:nvSpPr>
          <p:spPr>
            <a:xfrm>
              <a:off x="948477" y="2470728"/>
              <a:ext cx="2252699" cy="224503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ja-JP" altLang="en-US"/>
            </a:p>
          </p:txBody>
        </p:sp>
        <p:sp>
          <p:nvSpPr>
            <p:cNvPr id="7" name="正方形/長方形 6">
              <a:extLst>
                <a:ext uri="{FF2B5EF4-FFF2-40B4-BE49-F238E27FC236}">
                  <a16:creationId xmlns:a16="http://schemas.microsoft.com/office/drawing/2014/main" id="{18A2E57C-E4E2-42F2-6584-04C8F29A7607}"/>
                </a:ext>
              </a:extLst>
            </p:cNvPr>
            <p:cNvSpPr/>
            <p:nvPr/>
          </p:nvSpPr>
          <p:spPr>
            <a:xfrm>
              <a:off x="869007" y="2838278"/>
              <a:ext cx="675810" cy="225270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ja-JP" altLang="en-US"/>
            </a:p>
          </p:txBody>
        </p:sp>
      </p:grp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F8891816-1CCD-6D85-F7F7-5D4E8162A5DD}"/>
              </a:ext>
            </a:extLst>
          </p:cNvPr>
          <p:cNvCxnSpPr/>
          <p:nvPr/>
        </p:nvCxnSpPr>
        <p:spPr>
          <a:xfrm>
            <a:off x="1490134" y="3020180"/>
            <a:ext cx="5119308" cy="1759858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503439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アクティビティパネルで「</a:t>
            </a:r>
            <a:r>
              <a:rPr kumimoji="1" lang="en-US" altLang="ja-JP" sz="2000"/>
              <a:t>Excel </a:t>
            </a:r>
            <a:r>
              <a:rPr kumimoji="1" lang="ja-JP" altLang="en-US" sz="2000"/>
              <a:t>プロセス スコープ」を検索、</a:t>
            </a:r>
            <a:br>
              <a:rPr kumimoji="1" lang="en-US" altLang="ja-JP" sz="2000"/>
            </a:br>
            <a:r>
              <a:rPr kumimoji="1" lang="ja-JP" altLang="en-US" sz="2000"/>
              <a:t>「グループ」の中にドラッグ＆ドロップします。</a:t>
            </a:r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id="{13616C74-EEDC-3D83-9A41-044E717C26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00" y="1080000"/>
            <a:ext cx="10800000" cy="4033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99271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8E6A677-58FA-E31F-E9D5-AF5FBB341A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4388" y="1433513"/>
            <a:ext cx="5905500" cy="4857750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アクティビティパネルで「</a:t>
            </a:r>
            <a:r>
              <a:rPr kumimoji="1" lang="en-US" altLang="ja-JP" sz="2000"/>
              <a:t>Excel </a:t>
            </a:r>
            <a:r>
              <a:rPr kumimoji="1" lang="ja-JP" altLang="en-US" sz="2000"/>
              <a:t>ファイルを使用」を検索、</a:t>
            </a:r>
            <a:br>
              <a:rPr kumimoji="1" lang="en-US" altLang="ja-JP" sz="2000"/>
            </a:br>
            <a:r>
              <a:rPr kumimoji="1" lang="ja-JP" altLang="en-US" sz="2000"/>
              <a:t>「</a:t>
            </a:r>
            <a:r>
              <a:rPr kumimoji="1" lang="en-US" altLang="ja-JP" sz="2000"/>
              <a:t>Excel </a:t>
            </a:r>
            <a:r>
              <a:rPr kumimoji="1" lang="ja-JP" altLang="en-US" sz="2000"/>
              <a:t>プロセス スコープ」の中にドラッグ＆ドロップします。</a:t>
            </a:r>
            <a:br>
              <a:rPr kumimoji="1" lang="ja-JP" altLang="en-US" sz="2000"/>
            </a:br>
            <a:r>
              <a:rPr kumimoji="1" lang="ja-JP" altLang="en-US" sz="2000"/>
              <a:t>「変更を保存」を☑します。</a:t>
            </a:r>
            <a:br>
              <a:rPr kumimoji="1" lang="ja-JP" altLang="en-US" sz="2000"/>
            </a:br>
            <a:r>
              <a:rPr kumimoji="1" lang="ja-JP" altLang="en-US" sz="2000"/>
              <a:t>「ファイルを参照」をクリックします。</a:t>
            </a:r>
            <a:br>
              <a:rPr kumimoji="1" lang="ja-JP" altLang="en-US" sz="2000"/>
            </a:br>
            <a:endParaRPr kumimoji="1" lang="ja-JP" altLang="en-US" sz="2000"/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1A16A288-B871-39AD-014A-99413E8345A2}"/>
              </a:ext>
            </a:extLst>
          </p:cNvPr>
          <p:cNvGrpSpPr/>
          <p:nvPr/>
        </p:nvGrpSpPr>
        <p:grpSpPr>
          <a:xfrm>
            <a:off x="1451591" y="2236114"/>
            <a:ext cx="5034429" cy="1276830"/>
            <a:chOff x="6534" y="0"/>
            <a:chExt cx="3453397" cy="875849"/>
          </a:xfrm>
        </p:grpSpPr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311A5ECB-D9D8-A90C-C602-AF6EAC5BC2EE}"/>
                </a:ext>
              </a:extLst>
            </p:cNvPr>
            <p:cNvSpPr/>
            <p:nvPr/>
          </p:nvSpPr>
          <p:spPr>
            <a:xfrm>
              <a:off x="3243931" y="0"/>
              <a:ext cx="216000" cy="216000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ja-JP" altLang="en-US"/>
            </a:p>
          </p:txBody>
        </p:sp>
        <p:sp>
          <p:nvSpPr>
            <p:cNvPr id="7" name="正方形/長方形 6">
              <a:extLst>
                <a:ext uri="{FF2B5EF4-FFF2-40B4-BE49-F238E27FC236}">
                  <a16:creationId xmlns:a16="http://schemas.microsoft.com/office/drawing/2014/main" id="{949534E2-F02C-1A84-677D-BB1712FFE4F9}"/>
                </a:ext>
              </a:extLst>
            </p:cNvPr>
            <p:cNvSpPr/>
            <p:nvPr/>
          </p:nvSpPr>
          <p:spPr>
            <a:xfrm>
              <a:off x="6534" y="659849"/>
              <a:ext cx="792000" cy="216000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ja-JP" altLang="en-US"/>
            </a:p>
          </p:txBody>
        </p:sp>
      </p:grpSp>
      <p:pic>
        <p:nvPicPr>
          <p:cNvPr id="4" name="図 3">
            <a:extLst>
              <a:ext uri="{FF2B5EF4-FFF2-40B4-BE49-F238E27FC236}">
                <a16:creationId xmlns:a16="http://schemas.microsoft.com/office/drawing/2014/main" id="{D04BD8DF-C7BB-0114-EA44-1B643EC6959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31346" t="65909" r="221" b="10084"/>
          <a:stretch>
            <a:fillRect/>
          </a:stretch>
        </p:blipFill>
        <p:spPr>
          <a:xfrm>
            <a:off x="2655347" y="3217101"/>
            <a:ext cx="2744174" cy="251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12480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「</a:t>
            </a:r>
            <a:r>
              <a:rPr kumimoji="1" lang="en-US" altLang="ja-JP" sz="2000"/>
              <a:t>data.xlsx</a:t>
            </a:r>
            <a:r>
              <a:rPr kumimoji="1" lang="ja-JP" altLang="en-US" sz="2000"/>
              <a:t>」を選択、</a:t>
            </a:r>
            <a:br>
              <a:rPr kumimoji="1" lang="en-US" altLang="ja-JP" sz="2000"/>
            </a:br>
            <a:r>
              <a:rPr kumimoji="1" lang="ja-JP" altLang="en-US" sz="2000"/>
              <a:t>「開く」をクリックします。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00F127F1-319E-0DA5-4FEF-78053B60CCA9}"/>
              </a:ext>
            </a:extLst>
          </p:cNvPr>
          <p:cNvGrpSpPr>
            <a:grpSpLocks noChangeAspect="1"/>
          </p:cNvGrpSpPr>
          <p:nvPr/>
        </p:nvGrpSpPr>
        <p:grpSpPr>
          <a:xfrm>
            <a:off x="720000" y="1079999"/>
            <a:ext cx="7169948" cy="5400000"/>
            <a:chOff x="0" y="0"/>
            <a:chExt cx="5353050" cy="4031615"/>
          </a:xfrm>
        </p:grpSpPr>
        <p:pic>
          <p:nvPicPr>
            <p:cNvPr id="4" name="図 3">
              <a:extLst>
                <a:ext uri="{FF2B5EF4-FFF2-40B4-BE49-F238E27FC236}">
                  <a16:creationId xmlns:a16="http://schemas.microsoft.com/office/drawing/2014/main" id="{D4832D2F-E2CA-6B38-CBD6-8E8F17FE09B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5353050" cy="4031615"/>
            </a:xfrm>
            <a:prstGeom prst="rect">
              <a:avLst/>
            </a:prstGeom>
          </p:spPr>
        </p:pic>
        <p:grpSp>
          <p:nvGrpSpPr>
            <p:cNvPr id="5" name="グループ化 4">
              <a:extLst>
                <a:ext uri="{FF2B5EF4-FFF2-40B4-BE49-F238E27FC236}">
                  <a16:creationId xmlns:a16="http://schemas.microsoft.com/office/drawing/2014/main" id="{2028849F-9A50-3E96-93CA-0C1C6581C254}"/>
                </a:ext>
              </a:extLst>
            </p:cNvPr>
            <p:cNvGrpSpPr/>
            <p:nvPr/>
          </p:nvGrpSpPr>
          <p:grpSpPr>
            <a:xfrm>
              <a:off x="1479550" y="2946400"/>
              <a:ext cx="2840900" cy="984350"/>
              <a:chOff x="0" y="0"/>
              <a:chExt cx="2840900" cy="984350"/>
            </a:xfrm>
          </p:grpSpPr>
          <p:sp>
            <p:nvSpPr>
              <p:cNvPr id="6" name="正方形/長方形 5">
                <a:extLst>
                  <a:ext uri="{FF2B5EF4-FFF2-40B4-BE49-F238E27FC236}">
                    <a16:creationId xmlns:a16="http://schemas.microsoft.com/office/drawing/2014/main" id="{B782B8CC-FB77-6032-B296-9B9E42E559DC}"/>
                  </a:ext>
                </a:extLst>
              </p:cNvPr>
              <p:cNvSpPr/>
              <p:nvPr/>
            </p:nvSpPr>
            <p:spPr>
              <a:xfrm>
                <a:off x="2120900" y="768350"/>
                <a:ext cx="720000" cy="216000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ja-JP" altLang="en-US"/>
              </a:p>
            </p:txBody>
          </p:sp>
          <p:sp>
            <p:nvSpPr>
              <p:cNvPr id="7" name="正方形/長方形 6">
                <a:extLst>
                  <a:ext uri="{FF2B5EF4-FFF2-40B4-BE49-F238E27FC236}">
                    <a16:creationId xmlns:a16="http://schemas.microsoft.com/office/drawing/2014/main" id="{6E65AED1-7089-D220-499A-92A2974190B0}"/>
                  </a:ext>
                </a:extLst>
              </p:cNvPr>
              <p:cNvSpPr/>
              <p:nvPr/>
            </p:nvSpPr>
            <p:spPr>
              <a:xfrm>
                <a:off x="0" y="0"/>
                <a:ext cx="720000" cy="216000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ja-JP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5445143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ブラウザ</a:t>
            </a:r>
            <a:r>
              <a:rPr kumimoji="1" lang="en-US" altLang="ja-JP" sz="2000"/>
              <a:t>Edge</a:t>
            </a:r>
            <a:r>
              <a:rPr kumimoji="1" lang="ja-JP" altLang="en-US" sz="2000"/>
              <a:t>で「</a:t>
            </a:r>
            <a:r>
              <a:rPr kumimoji="1" lang="en-US" altLang="ja-JP" sz="2000"/>
              <a:t>https://www.expense-demo.com/</a:t>
            </a:r>
            <a:r>
              <a:rPr kumimoji="1" lang="ja-JP" altLang="en-US" sz="2000"/>
              <a:t>」を開きます。</a:t>
            </a:r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id="{FD97D668-8192-C1A4-734A-0BFB876F51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00" y="1080000"/>
            <a:ext cx="10800000" cy="3870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347968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D7046B3-4029-92EB-E4B2-12B8ED51FA6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-219" t="355" r="-160" b="1326"/>
          <a:stretch>
            <a:fillRect/>
          </a:stretch>
        </p:blipFill>
        <p:spPr>
          <a:xfrm>
            <a:off x="695403" y="1440978"/>
            <a:ext cx="7964450" cy="4716781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アクティビティパネルで「アプリケーション</a:t>
            </a:r>
            <a:r>
              <a:rPr kumimoji="1" lang="en-US" altLang="ja-JP" sz="2000"/>
              <a:t>/</a:t>
            </a:r>
            <a:r>
              <a:rPr kumimoji="1" lang="ja-JP" altLang="en-US" sz="2000"/>
              <a:t>ブラウザーを使用」を検索、</a:t>
            </a:r>
            <a:br>
              <a:rPr kumimoji="1" lang="en-US" altLang="ja-JP" sz="2000"/>
            </a:br>
            <a:r>
              <a:rPr kumimoji="1" lang="ja-JP" altLang="en-US" sz="2000"/>
              <a:t>「</a:t>
            </a:r>
            <a:r>
              <a:rPr kumimoji="1" lang="en-US" altLang="ja-JP" sz="2000"/>
              <a:t>Excel </a:t>
            </a:r>
            <a:r>
              <a:rPr kumimoji="1" lang="ja-JP" altLang="en-US" sz="2000"/>
              <a:t>ファイルを使用」の中の「実行」の中にドラッグ＆ドロップします。</a:t>
            </a:r>
            <a:br>
              <a:rPr kumimoji="1" lang="ja-JP" altLang="en-US" sz="2000"/>
            </a:br>
            <a:r>
              <a:rPr kumimoji="1" lang="ja-JP" altLang="en-US" sz="2000"/>
              <a:t>「自動化するアプリケーションを指定」をクリック、</a:t>
            </a:r>
            <a:br>
              <a:rPr kumimoji="1" lang="en-US" altLang="ja-JP" sz="2000"/>
            </a:br>
            <a:r>
              <a:rPr kumimoji="1" lang="en-US" altLang="ja-JP" sz="2000"/>
              <a:t>Edge</a:t>
            </a:r>
            <a:r>
              <a:rPr kumimoji="1" lang="ja-JP" altLang="en-US" sz="2000"/>
              <a:t>「</a:t>
            </a:r>
            <a:r>
              <a:rPr kumimoji="1" lang="en-US" altLang="ja-JP" sz="2000"/>
              <a:t>UiPath Demo</a:t>
            </a:r>
            <a:r>
              <a:rPr kumimoji="1" lang="ja-JP" altLang="en-US" sz="2000"/>
              <a:t>サイト」画面を選択します。</a:t>
            </a:r>
          </a:p>
        </p:txBody>
      </p:sp>
      <p:sp>
        <p:nvSpPr>
          <p:cNvPr id="8" name="正方形/長方形 4">
            <a:extLst>
              <a:ext uri="{FF2B5EF4-FFF2-40B4-BE49-F238E27FC236}">
                <a16:creationId xmlns:a16="http://schemas.microsoft.com/office/drawing/2014/main" id="{B96EA317-7DA5-F944-AA71-2B8E25BD9FF5}"/>
              </a:ext>
            </a:extLst>
          </p:cNvPr>
          <p:cNvSpPr/>
          <p:nvPr/>
        </p:nvSpPr>
        <p:spPr>
          <a:xfrm>
            <a:off x="3048922" y="2376530"/>
            <a:ext cx="3255838" cy="39110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marL="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173885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en-US" altLang="ja-JP" sz="2000"/>
              <a:t>UiPath Studio</a:t>
            </a:r>
            <a:r>
              <a:rPr lang="ja-JP" altLang="en-US" sz="2000"/>
              <a:t>の</a:t>
            </a:r>
            <a:r>
              <a:rPr kumimoji="1" lang="ja-JP" altLang="en-US" sz="2000"/>
              <a:t>ホーム画面で</a:t>
            </a:r>
            <a:br>
              <a:rPr lang="ja-JP" altLang="en-US" sz="2000"/>
            </a:br>
            <a:r>
              <a:rPr kumimoji="1" lang="ja-JP" altLang="en-US" sz="2000"/>
              <a:t>「新規」「空のタスク」をクリックします。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B740BA6A-A2CF-0F5D-D5E9-B717EA294698}"/>
              </a:ext>
            </a:extLst>
          </p:cNvPr>
          <p:cNvGrpSpPr/>
          <p:nvPr/>
        </p:nvGrpSpPr>
        <p:grpSpPr>
          <a:xfrm>
            <a:off x="720000" y="1080000"/>
            <a:ext cx="10184071" cy="5400000"/>
            <a:chOff x="720000" y="1080000"/>
            <a:chExt cx="10184071" cy="5400000"/>
          </a:xfrm>
        </p:grpSpPr>
        <p:pic>
          <p:nvPicPr>
            <p:cNvPr id="10" name="図 9">
              <a:extLst>
                <a:ext uri="{FF2B5EF4-FFF2-40B4-BE49-F238E27FC236}">
                  <a16:creationId xmlns:a16="http://schemas.microsoft.com/office/drawing/2014/main" id="{400BE563-A06B-00E9-AF18-62B4D1B1A4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0000" y="1080000"/>
              <a:ext cx="10184071" cy="5400000"/>
            </a:xfrm>
            <a:prstGeom prst="rect">
              <a:avLst/>
            </a:prstGeom>
          </p:spPr>
        </p:pic>
        <p:sp>
          <p:nvSpPr>
            <p:cNvPr id="7" name="正方形/長方形 6">
              <a:extLst>
                <a:ext uri="{FF2B5EF4-FFF2-40B4-BE49-F238E27FC236}">
                  <a16:creationId xmlns:a16="http://schemas.microsoft.com/office/drawing/2014/main" id="{2692F5A6-CC67-8DC3-C4D5-9FE839EE17C3}"/>
                </a:ext>
              </a:extLst>
            </p:cNvPr>
            <p:cNvSpPr/>
            <p:nvPr/>
          </p:nvSpPr>
          <p:spPr>
            <a:xfrm>
              <a:off x="1800000" y="1620000"/>
              <a:ext cx="4328406" cy="648000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07833736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8D48591-0870-FE56-333D-2B5BF9C20C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375" y="1554163"/>
            <a:ext cx="11220450" cy="4232275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lang="ja-JP" sz="2000">
                <a:cs typeface="Arial"/>
              </a:rPr>
              <a:t>プロパティパネルで、</a:t>
            </a:r>
            <a:br>
              <a:rPr lang="ja-JP" sz="2000" dirty="0">
                <a:cs typeface="Arial"/>
              </a:rPr>
            </a:br>
            <a:r>
              <a:rPr kumimoji="1" lang="ja-JP" altLang="en-US" sz="2000"/>
              <a:t>入力モード「シミュレート」を選択します。</a:t>
            </a:r>
            <a:br>
              <a:rPr lang="ja-JP" altLang="en-US" sz="2000" dirty="0"/>
            </a:br>
            <a:endParaRPr lang="ja-JP" altLang="en-US" sz="2000">
              <a:cs typeface="Arial"/>
            </a:endParaRPr>
          </a:p>
        </p:txBody>
      </p:sp>
      <p:sp>
        <p:nvSpPr>
          <p:cNvPr id="8" name="正方形/長方形 4">
            <a:extLst>
              <a:ext uri="{FF2B5EF4-FFF2-40B4-BE49-F238E27FC236}">
                <a16:creationId xmlns:a16="http://schemas.microsoft.com/office/drawing/2014/main" id="{78066C8D-FBBE-9CB9-0C41-FFDC98552E20}"/>
              </a:ext>
            </a:extLst>
          </p:cNvPr>
          <p:cNvSpPr/>
          <p:nvPr/>
        </p:nvSpPr>
        <p:spPr>
          <a:xfrm>
            <a:off x="9494791" y="3765715"/>
            <a:ext cx="2237215" cy="30465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marL="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1616032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465C487-B169-AB09-B2AC-3422B664FB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" y="1433513"/>
            <a:ext cx="11099800" cy="4295775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プロパティパネルで、</a:t>
            </a:r>
            <a:br>
              <a:rPr lang="en-US" altLang="ja-JP" sz="2000" dirty="0"/>
            </a:br>
            <a:r>
              <a:rPr kumimoji="1" lang="ja-JP" altLang="en-US" sz="2000"/>
              <a:t>ウィンドウサイズの変更「最大化」、</a:t>
            </a:r>
            <a:br>
              <a:rPr lang="en-US" altLang="ja-JP" sz="2000" dirty="0"/>
            </a:br>
            <a:r>
              <a:rPr kumimoji="1" lang="ja-JP" altLang="en-US" sz="2000"/>
              <a:t>オープン動作「</a:t>
            </a:r>
            <a:r>
              <a:rPr kumimoji="1" lang="en-US" altLang="ja-JP" sz="2000" dirty="0"/>
              <a:t>Always</a:t>
            </a:r>
            <a:r>
              <a:rPr kumimoji="1" lang="ja-JP" altLang="en-US" sz="2000"/>
              <a:t>」、クローズ動作「</a:t>
            </a:r>
            <a:r>
              <a:rPr kumimoji="1" lang="en-US" altLang="ja-JP" sz="2000" dirty="0"/>
              <a:t>Always</a:t>
            </a:r>
            <a:r>
              <a:rPr kumimoji="1" lang="ja-JP" altLang="en-US" sz="2000"/>
              <a:t>」</a:t>
            </a:r>
            <a:r>
              <a:rPr lang="ja-JP" sz="2000"/>
              <a:t>を選択します。</a:t>
            </a:r>
            <a:br>
              <a:rPr lang="ja-JP" sz="2000" dirty="0">
                <a:cs typeface="Arial"/>
              </a:rPr>
            </a:br>
            <a:endParaRPr lang="ja-JP" sz="2000" b="0">
              <a:solidFill>
                <a:srgbClr val="000000"/>
              </a:solidFill>
              <a:cs typeface="Arial"/>
            </a:endParaRPr>
          </a:p>
        </p:txBody>
      </p:sp>
      <p:sp>
        <p:nvSpPr>
          <p:cNvPr id="8" name="正方形/長方形 4">
            <a:extLst>
              <a:ext uri="{FF2B5EF4-FFF2-40B4-BE49-F238E27FC236}">
                <a16:creationId xmlns:a16="http://schemas.microsoft.com/office/drawing/2014/main" id="{78066C8D-FBBE-9CB9-0C41-FFDC98552E20}"/>
              </a:ext>
            </a:extLst>
          </p:cNvPr>
          <p:cNvSpPr/>
          <p:nvPr/>
        </p:nvSpPr>
        <p:spPr>
          <a:xfrm>
            <a:off x="9558291" y="2867041"/>
            <a:ext cx="2249915" cy="8610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marL="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859208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9F45E21-1D49-3CF4-2EE4-A8397FCA66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5325" y="1182688"/>
            <a:ext cx="10242550" cy="5216525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アクティビティパネルで「クリック」を検索、</a:t>
            </a:r>
            <a:br>
              <a:rPr kumimoji="1" lang="en-US" altLang="ja-JP" sz="2000"/>
            </a:br>
            <a:r>
              <a:rPr kumimoji="1" lang="ja-JP" altLang="en-US" sz="2000"/>
              <a:t>「ブラウザーを使用」の中にドラッグ＆ドロップします。</a:t>
            </a:r>
            <a:br>
              <a:rPr kumimoji="1" lang="ja-JP" altLang="en-US" sz="2000"/>
            </a:br>
            <a:r>
              <a:rPr kumimoji="1" lang="ja-JP" altLang="en-US" sz="2000"/>
              <a:t>「次で指定」をクリックします。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B08A8C2A-665A-21D0-4FA1-FB09632EE177}"/>
              </a:ext>
            </a:extLst>
          </p:cNvPr>
          <p:cNvSpPr/>
          <p:nvPr/>
        </p:nvSpPr>
        <p:spPr>
          <a:xfrm>
            <a:off x="2162726" y="2522372"/>
            <a:ext cx="6704821" cy="80920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83534252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67F0F7C1-D72B-6F32-0324-F572B7F4230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49895" t="9630" r="995" b="29259"/>
          <a:stretch>
            <a:fillRect/>
          </a:stretch>
        </p:blipFill>
        <p:spPr>
          <a:xfrm>
            <a:off x="339969" y="1820008"/>
            <a:ext cx="11007816" cy="3873260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en-US" altLang="ja-JP" sz="2000" dirty="0"/>
              <a:t>Edge</a:t>
            </a:r>
            <a:r>
              <a:rPr kumimoji="1" lang="ja-JP" altLang="en-US" sz="2000"/>
              <a:t>「</a:t>
            </a:r>
            <a:r>
              <a:rPr kumimoji="1" lang="en-US" altLang="ja-JP" sz="2000" dirty="0"/>
              <a:t>UiPath Demo</a:t>
            </a:r>
            <a:r>
              <a:rPr kumimoji="1" lang="ja-JP" altLang="en-US" sz="2000"/>
              <a:t>サイト」画面で、</a:t>
            </a:r>
            <a:br>
              <a:rPr lang="en-US" altLang="ja-JP" sz="2000" dirty="0"/>
            </a:br>
            <a:r>
              <a:rPr kumimoji="1" lang="ja-JP" altLang="en-US" sz="2000"/>
              <a:t>「経費を登録する」をターゲットとして選択</a:t>
            </a:r>
            <a:r>
              <a:rPr lang="ja-JP" altLang="en-US" sz="2000"/>
              <a:t>します。</a:t>
            </a:r>
            <a:endParaRPr kumimoji="1" lang="ja-JP" altLang="en-US" sz="2000"/>
          </a:p>
        </p:txBody>
      </p:sp>
    </p:spTree>
    <p:extLst>
      <p:ext uri="{BB962C8B-B14F-4D97-AF65-F5344CB8AC3E}">
        <p14:creationId xmlns:p14="http://schemas.microsoft.com/office/powerpoint/2010/main" val="325756699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「経費登録」をアンカーとして選択、</a:t>
            </a:r>
            <a:br>
              <a:rPr kumimoji="1" lang="ja-JP" altLang="en-US" sz="2000"/>
            </a:br>
            <a:r>
              <a:rPr kumimoji="1" lang="ja-JP" altLang="en-US" sz="2000"/>
              <a:t>「確認」をクリックします。</a:t>
            </a:r>
            <a:br>
              <a:rPr kumimoji="1" lang="ja-JP" altLang="en-US" sz="2000"/>
            </a:br>
            <a:endParaRPr kumimoji="1" lang="ja-JP" altLang="en-US" sz="20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C6F0C12-133A-7BB3-922A-F097917FB8F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49997" t="9589" r="1154" b="31849"/>
          <a:stretch>
            <a:fillRect/>
          </a:stretch>
        </p:blipFill>
        <p:spPr>
          <a:xfrm>
            <a:off x="339614" y="1820008"/>
            <a:ext cx="11008341" cy="3719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05637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EA4620D-11EF-D29F-099D-730AD5A9AE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150" y="1714500"/>
            <a:ext cx="10744200" cy="2743200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プロパティパネルで、</a:t>
            </a:r>
            <a:br>
              <a:rPr kumimoji="1" lang="en-US" altLang="ja-JP" sz="2000"/>
            </a:br>
            <a:r>
              <a:rPr kumimoji="1" lang="ja-JP" altLang="en-US" sz="2000"/>
              <a:t>入力モード「アプリ</a:t>
            </a:r>
            <a:r>
              <a:rPr kumimoji="1" lang="en-US" altLang="ja-JP" sz="2000"/>
              <a:t>/</a:t>
            </a:r>
            <a:r>
              <a:rPr kumimoji="1" lang="ja-JP" altLang="en-US" sz="2000"/>
              <a:t>ブラウザーと同一」を選択します。</a:t>
            </a:r>
            <a:br>
              <a:rPr kumimoji="1" lang="ja-JP" altLang="en-US" sz="2000"/>
            </a:br>
            <a:endParaRPr kumimoji="1" lang="ja-JP" altLang="en-US" sz="2000"/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07A23AD0-936F-7A78-DDB7-CC36ACEC07FA}"/>
              </a:ext>
            </a:extLst>
          </p:cNvPr>
          <p:cNvSpPr/>
          <p:nvPr/>
        </p:nvSpPr>
        <p:spPr>
          <a:xfrm>
            <a:off x="9140531" y="3539055"/>
            <a:ext cx="2224515" cy="24006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9556851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2D4B27E4-2C69-8412-F09A-069C9909CF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6088" y="2038350"/>
            <a:ext cx="11312525" cy="4089400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アクティビティパネルで「繰り返し </a:t>
            </a:r>
            <a:r>
              <a:rPr kumimoji="1" lang="en-US" altLang="ja-JP" sz="2000"/>
              <a:t>(Excel </a:t>
            </a:r>
            <a:r>
              <a:rPr kumimoji="1" lang="ja-JP" altLang="en-US" sz="2000"/>
              <a:t>の各行</a:t>
            </a:r>
            <a:r>
              <a:rPr kumimoji="1" lang="en-US" altLang="ja-JP" sz="2000"/>
              <a:t>)</a:t>
            </a:r>
            <a:r>
              <a:rPr kumimoji="1" lang="ja-JP" altLang="en-US" sz="2000"/>
              <a:t>」を検索、</a:t>
            </a:r>
            <a:br>
              <a:rPr kumimoji="1" lang="en-US" altLang="ja-JP" sz="2000"/>
            </a:br>
            <a:r>
              <a:rPr kumimoji="1" lang="ja-JP" altLang="en-US" sz="2000"/>
              <a:t>「クリック </a:t>
            </a:r>
            <a:r>
              <a:rPr kumimoji="1" lang="en-US" altLang="ja-JP" sz="2000"/>
              <a:t>'</a:t>
            </a:r>
            <a:r>
              <a:rPr kumimoji="1" lang="ja-JP" altLang="en-US" sz="2000"/>
              <a:t>経費を登録する</a:t>
            </a:r>
            <a:r>
              <a:rPr kumimoji="1" lang="en-US" altLang="ja-JP" sz="2000"/>
              <a:t>'</a:t>
            </a:r>
            <a:r>
              <a:rPr kumimoji="1" lang="ja-JP" altLang="en-US" sz="2000"/>
              <a:t>」の下にドラッグ＆ドロップします。</a:t>
            </a:r>
            <a:br>
              <a:rPr kumimoji="1" lang="ja-JP" altLang="en-US" sz="2000"/>
            </a:br>
            <a:r>
              <a:rPr kumimoji="1" lang="ja-JP" altLang="en-US" sz="2000"/>
              <a:t>「先頭行をヘッダーとする」を☑します。</a:t>
            </a:r>
            <a:br>
              <a:rPr kumimoji="1" lang="ja-JP" altLang="en-US" sz="2000"/>
            </a:br>
            <a:r>
              <a:rPr kumimoji="1" lang="ja-JP" altLang="en-US" sz="2000"/>
              <a:t>「対象範囲」で○＋をクリック、</a:t>
            </a:r>
            <a:br>
              <a:rPr kumimoji="1" lang="en-US" altLang="ja-JP" sz="2000"/>
            </a:br>
            <a:r>
              <a:rPr kumimoji="1" lang="ja-JP" altLang="en-US" sz="2000"/>
              <a:t>「</a:t>
            </a:r>
            <a:r>
              <a:rPr kumimoji="1" lang="en-US" altLang="ja-JP" sz="2000"/>
              <a:t>Excel</a:t>
            </a:r>
            <a:r>
              <a:rPr kumimoji="1" lang="ja-JP" altLang="en-US" sz="2000"/>
              <a:t>」「</a:t>
            </a:r>
            <a:r>
              <a:rPr kumimoji="1" lang="en-US" altLang="ja-JP" sz="2000"/>
              <a:t>Sheet1[</a:t>
            </a:r>
            <a:r>
              <a:rPr kumimoji="1" lang="ja-JP" altLang="en-US" sz="2000"/>
              <a:t>シート</a:t>
            </a:r>
            <a:r>
              <a:rPr kumimoji="1" lang="en-US" altLang="ja-JP" sz="2000"/>
              <a:t>]</a:t>
            </a:r>
            <a:r>
              <a:rPr kumimoji="1" lang="ja-JP" altLang="en-US" sz="2000"/>
              <a:t>」を選択します。</a:t>
            </a:r>
            <a:br>
              <a:rPr kumimoji="1" lang="ja-JP" altLang="en-US" sz="2000"/>
            </a:br>
            <a:endParaRPr kumimoji="1" lang="ja-JP" altLang="en-US" sz="2000"/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98718ABA-3CDF-C527-6577-A3C9BF6878D4}"/>
              </a:ext>
            </a:extLst>
          </p:cNvPr>
          <p:cNvGrpSpPr/>
          <p:nvPr/>
        </p:nvGrpSpPr>
        <p:grpSpPr>
          <a:xfrm>
            <a:off x="1266716" y="3588598"/>
            <a:ext cx="10489741" cy="657146"/>
            <a:chOff x="-16087" y="0"/>
            <a:chExt cx="6643716" cy="416206"/>
          </a:xfrm>
        </p:grpSpPr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5EBF4D0C-6B2D-2E30-7625-CD4FF6604047}"/>
                </a:ext>
              </a:extLst>
            </p:cNvPr>
            <p:cNvSpPr/>
            <p:nvPr/>
          </p:nvSpPr>
          <p:spPr>
            <a:xfrm>
              <a:off x="-16087" y="0"/>
              <a:ext cx="6643716" cy="207957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ja-JP" altLang="en-US"/>
            </a:p>
          </p:txBody>
        </p:sp>
        <p:sp>
          <p:nvSpPr>
            <p:cNvPr id="7" name="正方形/長方形 6">
              <a:extLst>
                <a:ext uri="{FF2B5EF4-FFF2-40B4-BE49-F238E27FC236}">
                  <a16:creationId xmlns:a16="http://schemas.microsoft.com/office/drawing/2014/main" id="{9A1846D9-C1F9-8253-362E-C40660356301}"/>
                </a:ext>
              </a:extLst>
            </p:cNvPr>
            <p:cNvSpPr/>
            <p:nvPr/>
          </p:nvSpPr>
          <p:spPr>
            <a:xfrm>
              <a:off x="-16087" y="207857"/>
              <a:ext cx="1201046" cy="208349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ja-JP" altLang="en-US"/>
            </a:p>
          </p:txBody>
        </p:sp>
      </p:grpSp>
      <p:pic>
        <p:nvPicPr>
          <p:cNvPr id="4" name="Picture 10">
            <a:extLst>
              <a:ext uri="{FF2B5EF4-FFF2-40B4-BE49-F238E27FC236}">
                <a16:creationId xmlns:a16="http://schemas.microsoft.com/office/drawing/2014/main" id="{6D29A326-6636-58C9-AE19-A768DA244E1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6190" t="-2994" r="14286" b="9321"/>
          <a:stretch>
            <a:fillRect/>
          </a:stretch>
        </p:blipFill>
        <p:spPr>
          <a:xfrm flipH="1">
            <a:off x="2460945" y="1080978"/>
            <a:ext cx="484686" cy="33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88867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en-US" altLang="ja-JP" sz="2000"/>
              <a:t>Edge</a:t>
            </a:r>
            <a:r>
              <a:rPr kumimoji="1" lang="ja-JP" altLang="en-US" sz="2000"/>
              <a:t>「</a:t>
            </a:r>
            <a:r>
              <a:rPr kumimoji="1" lang="en-US" altLang="ja-JP" sz="2000"/>
              <a:t>UiPath Demo</a:t>
            </a:r>
            <a:r>
              <a:rPr kumimoji="1" lang="ja-JP" altLang="en-US" sz="2000"/>
              <a:t>サイト」で、</a:t>
            </a:r>
            <a:br>
              <a:rPr kumimoji="1" lang="en-US" altLang="ja-JP" sz="2000"/>
            </a:br>
            <a:r>
              <a:rPr kumimoji="1" lang="ja-JP" altLang="en-US" sz="2000"/>
              <a:t>「経費を登録する」をクリック（図の画面に遷移）します。</a:t>
            </a:r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id="{DEC7CA7F-86B1-F624-8837-81E66DAAE3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00" y="1080000"/>
            <a:ext cx="10800000" cy="1997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97430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アクティビティパネルで「クリック」を検索、</a:t>
            </a:r>
            <a:br>
              <a:rPr kumimoji="1" lang="en-US" altLang="ja-JP" sz="2000"/>
            </a:br>
            <a:r>
              <a:rPr kumimoji="1" lang="ja-JP" altLang="en-US" sz="2000"/>
              <a:t>「繰り返し </a:t>
            </a:r>
            <a:r>
              <a:rPr kumimoji="1" lang="en-US" altLang="ja-JP" sz="2000"/>
              <a:t>(Excel </a:t>
            </a:r>
            <a:r>
              <a:rPr kumimoji="1" lang="ja-JP" altLang="en-US" sz="2000"/>
              <a:t>の各行</a:t>
            </a:r>
            <a:r>
              <a:rPr kumimoji="1" lang="en-US" altLang="ja-JP" sz="2000"/>
              <a:t>)</a:t>
            </a:r>
            <a:r>
              <a:rPr kumimoji="1" lang="ja-JP" altLang="en-US" sz="2000"/>
              <a:t>」の中にドラッグ＆ドロップします。</a:t>
            </a:r>
            <a:br>
              <a:rPr kumimoji="1" lang="en-US" altLang="ja-JP" sz="2000"/>
            </a:br>
            <a:r>
              <a:rPr kumimoji="1" lang="ja-JP" altLang="en-US" sz="2000"/>
              <a:t>「次で指定」をクリックします。</a:t>
            </a:r>
            <a:br>
              <a:rPr kumimoji="1" lang="ja-JP" altLang="en-US" sz="2000"/>
            </a:br>
            <a:r>
              <a:rPr kumimoji="1" lang="en-US" altLang="ja-JP" sz="2000"/>
              <a:t>Edge</a:t>
            </a:r>
            <a:r>
              <a:rPr kumimoji="1" lang="ja-JP" altLang="en-US" sz="2000"/>
              <a:t>「</a:t>
            </a:r>
            <a:r>
              <a:rPr kumimoji="1" lang="en-US" altLang="ja-JP" sz="2000"/>
              <a:t>UiPath Demo</a:t>
            </a:r>
            <a:r>
              <a:rPr kumimoji="1" lang="ja-JP" altLang="en-US" sz="2000"/>
              <a:t>サイト」で、</a:t>
            </a:r>
            <a:br>
              <a:rPr kumimoji="1" lang="en-US" altLang="ja-JP" sz="2000"/>
            </a:br>
            <a:r>
              <a:rPr kumimoji="1" lang="ja-JP" altLang="en-US" sz="2000"/>
              <a:t>ターゲット「明細を登録する」、</a:t>
            </a:r>
            <a:br>
              <a:rPr kumimoji="1" lang="en-US" altLang="ja-JP" sz="2000"/>
            </a:br>
            <a:r>
              <a:rPr kumimoji="1" lang="ja-JP" altLang="en-US" sz="2000"/>
              <a:t>アンカー「経費一覧」を選択します。</a:t>
            </a: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DA7AF77F-8BE7-0A50-DCB0-3D579A2DE3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2278" y="2192651"/>
            <a:ext cx="8188120" cy="4089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13751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プロパティパネルで、</a:t>
            </a:r>
            <a:br>
              <a:rPr kumimoji="1" lang="en-US" altLang="ja-JP" sz="2000"/>
            </a:br>
            <a:r>
              <a:rPr kumimoji="1" lang="ja-JP" altLang="en-US" sz="2000"/>
              <a:t>入力モード「アプリ</a:t>
            </a:r>
            <a:r>
              <a:rPr kumimoji="1" lang="en-US" altLang="ja-JP" sz="2000"/>
              <a:t>/</a:t>
            </a:r>
            <a:r>
              <a:rPr kumimoji="1" lang="ja-JP" altLang="en-US" sz="2000"/>
              <a:t>ブラウザーと同一」を選択します。</a:t>
            </a:r>
            <a:br>
              <a:rPr kumimoji="1" lang="ja-JP" altLang="en-US" sz="2000"/>
            </a:br>
            <a:endParaRPr kumimoji="1" lang="ja-JP" altLang="en-US" sz="2000"/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B14184F2-E090-7432-06EA-D93922C2A12D}"/>
              </a:ext>
            </a:extLst>
          </p:cNvPr>
          <p:cNvGrpSpPr/>
          <p:nvPr/>
        </p:nvGrpSpPr>
        <p:grpSpPr>
          <a:xfrm>
            <a:off x="720000" y="1080001"/>
            <a:ext cx="10800000" cy="3653261"/>
            <a:chOff x="720000" y="1080001"/>
            <a:chExt cx="10800000" cy="3653261"/>
          </a:xfrm>
        </p:grpSpPr>
        <p:pic>
          <p:nvPicPr>
            <p:cNvPr id="7" name="図 6">
              <a:extLst>
                <a:ext uri="{FF2B5EF4-FFF2-40B4-BE49-F238E27FC236}">
                  <a16:creationId xmlns:a16="http://schemas.microsoft.com/office/drawing/2014/main" id="{825B0663-980C-59B8-4C34-7C8CCAEEAA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0000" y="1080001"/>
              <a:ext cx="10800000" cy="3653261"/>
            </a:xfrm>
            <a:prstGeom prst="rect">
              <a:avLst/>
            </a:prstGeom>
          </p:spPr>
        </p:pic>
        <p:sp>
          <p:nvSpPr>
            <p:cNvPr id="8" name="正方形/長方形 7">
              <a:extLst>
                <a:ext uri="{FF2B5EF4-FFF2-40B4-BE49-F238E27FC236}">
                  <a16:creationId xmlns:a16="http://schemas.microsoft.com/office/drawing/2014/main" id="{3DB9DF2E-FFA7-4D0D-C4EA-7C21E49E72D1}"/>
                </a:ext>
              </a:extLst>
            </p:cNvPr>
            <p:cNvSpPr/>
            <p:nvPr/>
          </p:nvSpPr>
          <p:spPr>
            <a:xfrm>
              <a:off x="8928000" y="2592000"/>
              <a:ext cx="2592000" cy="216000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7296831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C45D8AC-F83A-33FA-53F3-D7A8D5BA66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5818" y="1414444"/>
            <a:ext cx="9294091" cy="4895020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名前に「</a:t>
            </a:r>
            <a:r>
              <a:rPr kumimoji="1" lang="en-US" altLang="ja-JP" sz="2000" dirty="0"/>
              <a:t>Excel</a:t>
            </a:r>
            <a:r>
              <a:rPr kumimoji="1" lang="ja-JP" altLang="en-US" sz="2000"/>
              <a:t>とブラウザ操作」を入力、</a:t>
            </a:r>
            <a:br>
              <a:rPr lang="ja-JP" altLang="en-US" sz="2000" dirty="0"/>
            </a:br>
            <a:r>
              <a:rPr kumimoji="1" lang="ja-JP" altLang="en-US" sz="2000"/>
              <a:t>「作成」をクリックします。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31CD2A7F-307B-830A-2BFF-C446FE847EDC}"/>
              </a:ext>
            </a:extLst>
          </p:cNvPr>
          <p:cNvGrpSpPr>
            <a:grpSpLocks noChangeAspect="1"/>
          </p:cNvGrpSpPr>
          <p:nvPr/>
        </p:nvGrpSpPr>
        <p:grpSpPr>
          <a:xfrm>
            <a:off x="3593552" y="3425906"/>
            <a:ext cx="3545057" cy="1517718"/>
            <a:chOff x="4413131" y="2208985"/>
            <a:chExt cx="3938953" cy="1686352"/>
          </a:xfrm>
        </p:grpSpPr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8711DA24-3385-254B-256F-7D78C589DF61}"/>
                </a:ext>
              </a:extLst>
            </p:cNvPr>
            <p:cNvSpPr/>
            <p:nvPr/>
          </p:nvSpPr>
          <p:spPr>
            <a:xfrm>
              <a:off x="4413131" y="2208985"/>
              <a:ext cx="3931084" cy="1037125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ja-JP" altLang="en-US"/>
            </a:p>
          </p:txBody>
        </p:sp>
        <p:sp>
          <p:nvSpPr>
            <p:cNvPr id="8" name="正方形/長方形 7">
              <a:extLst>
                <a:ext uri="{FF2B5EF4-FFF2-40B4-BE49-F238E27FC236}">
                  <a16:creationId xmlns:a16="http://schemas.microsoft.com/office/drawing/2014/main" id="{932511F6-F787-8CDD-73E2-65B6D47A6C09}"/>
                </a:ext>
              </a:extLst>
            </p:cNvPr>
            <p:cNvSpPr/>
            <p:nvPr/>
          </p:nvSpPr>
          <p:spPr>
            <a:xfrm>
              <a:off x="7809663" y="3678369"/>
              <a:ext cx="542421" cy="216968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28880740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en-US" altLang="ja-JP" sz="2000"/>
              <a:t>Edge</a:t>
            </a:r>
            <a:r>
              <a:rPr kumimoji="1" lang="ja-JP" altLang="en-US" sz="2000"/>
              <a:t>「</a:t>
            </a:r>
            <a:r>
              <a:rPr kumimoji="1" lang="en-US" altLang="ja-JP" sz="2000"/>
              <a:t>UiPath Demo</a:t>
            </a:r>
            <a:r>
              <a:rPr kumimoji="1" lang="ja-JP" altLang="en-US" sz="2000"/>
              <a:t>サイト」で、</a:t>
            </a:r>
            <a:br>
              <a:rPr kumimoji="1" lang="en-US" altLang="ja-JP" sz="2000"/>
            </a:br>
            <a:r>
              <a:rPr kumimoji="1" lang="ja-JP" altLang="en-US" sz="2000"/>
              <a:t>「明細を登録する」をクリック（図の画面に遷移）します。</a:t>
            </a:r>
            <a:br>
              <a:rPr kumimoji="1" lang="ja-JP" altLang="en-US" sz="2000"/>
            </a:br>
            <a:endParaRPr kumimoji="1" lang="ja-JP" altLang="en-US" sz="2000"/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id="{528D8E6F-837C-6162-9DA8-83D95E0C9D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00" y="1080000"/>
            <a:ext cx="10800000" cy="221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88362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 anchorCtr="0">
            <a:noAutofit/>
          </a:bodyPr>
          <a:lstStyle/>
          <a:p>
            <a:r>
              <a:rPr kumimoji="1" lang="ja-JP" altLang="en-US" sz="2000"/>
              <a:t>アクティビティパネルで「文字を入力」を検索、</a:t>
            </a:r>
            <a:br>
              <a:rPr lang="en-US" altLang="ja-JP" sz="2000" dirty="0"/>
            </a:br>
            <a:r>
              <a:rPr kumimoji="1" lang="ja-JP" altLang="en-US" sz="2000"/>
              <a:t>「クリック </a:t>
            </a:r>
            <a:r>
              <a:rPr kumimoji="1" lang="en-US" altLang="ja-JP" sz="2000" dirty="0"/>
              <a:t>'</a:t>
            </a:r>
            <a:r>
              <a:rPr kumimoji="1" lang="ja-JP" altLang="en-US" sz="2000"/>
              <a:t>明細を登録する</a:t>
            </a:r>
            <a:r>
              <a:rPr kumimoji="1" lang="en-US" altLang="ja-JP" sz="2000" dirty="0"/>
              <a:t>'</a:t>
            </a:r>
            <a:r>
              <a:rPr kumimoji="1" lang="ja-JP" altLang="en-US" sz="2000"/>
              <a:t>」の下にドラッグ＆ドロップします。</a:t>
            </a:r>
            <a:br>
              <a:rPr lang="ja-JP" altLang="en-US" sz="2000" dirty="0"/>
            </a:br>
            <a:r>
              <a:rPr kumimoji="1" lang="ja-JP" altLang="en-US" sz="2000"/>
              <a:t>「次で指定」をクリックします。</a:t>
            </a:r>
            <a:br>
              <a:rPr lang="ja-JP" altLang="en-US" sz="2000" dirty="0"/>
            </a:br>
            <a:r>
              <a:rPr kumimoji="1" lang="en-US" altLang="ja-JP" sz="2000" dirty="0"/>
              <a:t>Edge</a:t>
            </a:r>
            <a:r>
              <a:rPr kumimoji="1" lang="ja-JP" altLang="en-US" sz="2000"/>
              <a:t>「</a:t>
            </a:r>
            <a:r>
              <a:rPr kumimoji="1" lang="en-US" altLang="ja-JP" sz="2000" dirty="0"/>
              <a:t>UiPath Demo</a:t>
            </a:r>
            <a:r>
              <a:rPr kumimoji="1" lang="ja-JP" altLang="en-US" sz="2000"/>
              <a:t>サイト」で、</a:t>
            </a:r>
            <a:br>
              <a:rPr lang="en-US" altLang="ja-JP" sz="2000" dirty="0"/>
            </a:br>
            <a:r>
              <a:rPr kumimoji="1" lang="ja-JP" altLang="en-US" sz="2000"/>
              <a:t>ターゲット「</a:t>
            </a:r>
            <a:r>
              <a:rPr lang="ja-JP" altLang="en-US" sz="2000"/>
              <a:t>タイトル</a:t>
            </a:r>
            <a:r>
              <a:rPr kumimoji="1" lang="ja-JP" altLang="en-US" sz="2000"/>
              <a:t>」</a:t>
            </a:r>
            <a:r>
              <a:rPr lang="ja-JP" altLang="en-US" sz="2000"/>
              <a:t>の右隣にある入力ボックス</a:t>
            </a:r>
            <a:r>
              <a:rPr kumimoji="1" lang="ja-JP" altLang="en-US" sz="2000"/>
              <a:t>、</a:t>
            </a:r>
            <a:br>
              <a:rPr lang="en-US" altLang="ja-JP" sz="2000" dirty="0"/>
            </a:br>
            <a:r>
              <a:rPr kumimoji="1" lang="ja-JP" altLang="en-US" sz="2000"/>
              <a:t>アンカー「タイトル」を選択します。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6F835E49-7BFC-BBCF-5AF7-3635DD10C3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4615" y="2107000"/>
            <a:ext cx="6380781" cy="43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40746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2E1463A-F70C-5CD5-99C4-DDFA010363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8021" y="2058441"/>
            <a:ext cx="10776167" cy="3605669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 anchorCtr="0">
            <a:noAutofit/>
          </a:bodyPr>
          <a:lstStyle/>
          <a:p>
            <a:r>
              <a:rPr kumimoji="1" lang="ja-JP" altLang="en-US" sz="2000"/>
              <a:t>プロパティパネルで、</a:t>
            </a:r>
            <a:br>
              <a:rPr kumimoji="1" lang="en-US" altLang="ja-JP" sz="2000"/>
            </a:br>
            <a:r>
              <a:rPr kumimoji="1" lang="ja-JP" altLang="en-US" sz="2000"/>
              <a:t>入力モード「アプリ</a:t>
            </a:r>
            <a:r>
              <a:rPr kumimoji="1" lang="en-US" altLang="ja-JP" sz="2000"/>
              <a:t>/</a:t>
            </a:r>
            <a:r>
              <a:rPr kumimoji="1" lang="ja-JP" altLang="en-US" sz="2000"/>
              <a:t>ブラウザーと同一」を選択します。</a:t>
            </a:r>
            <a:br>
              <a:rPr kumimoji="1" lang="ja-JP" altLang="en-US" sz="2000"/>
            </a:br>
            <a:r>
              <a:rPr kumimoji="1" lang="ja-JP" altLang="en-US" sz="2000"/>
              <a:t>「以下を入力」で○＋をクリック、</a:t>
            </a:r>
            <a:br>
              <a:rPr kumimoji="1" lang="en-US" altLang="ja-JP" sz="2000"/>
            </a:br>
            <a:r>
              <a:rPr kumimoji="1" lang="ja-JP" altLang="en-US" sz="2000"/>
              <a:t>「</a:t>
            </a:r>
            <a:r>
              <a:rPr kumimoji="1" lang="en-US" altLang="ja-JP" sz="2000" err="1"/>
              <a:t>CurrentRow</a:t>
            </a:r>
            <a:r>
              <a:rPr kumimoji="1" lang="ja-JP" altLang="en-US" sz="2000"/>
              <a:t>」「タイトル」を選択します。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2F0A559D-A917-0A10-648A-05347F2CA9D1}"/>
              </a:ext>
            </a:extLst>
          </p:cNvPr>
          <p:cNvGrpSpPr>
            <a:grpSpLocks noChangeAspect="1"/>
          </p:cNvGrpSpPr>
          <p:nvPr/>
        </p:nvGrpSpPr>
        <p:grpSpPr>
          <a:xfrm>
            <a:off x="943178" y="3060279"/>
            <a:ext cx="10581375" cy="2065431"/>
            <a:chOff x="433347" y="3963743"/>
            <a:chExt cx="10581375" cy="2065431"/>
          </a:xfrm>
        </p:grpSpPr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DCD7BC47-5519-3A33-DD7A-DC88FEA11707}"/>
                </a:ext>
              </a:extLst>
            </p:cNvPr>
            <p:cNvSpPr/>
            <p:nvPr/>
          </p:nvSpPr>
          <p:spPr>
            <a:xfrm>
              <a:off x="433347" y="5013782"/>
              <a:ext cx="7397581" cy="359617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ja-JP" altLang="en-US"/>
            </a:p>
          </p:txBody>
        </p:sp>
        <p:sp>
          <p:nvSpPr>
            <p:cNvPr id="7" name="正方形/長方形 6">
              <a:extLst>
                <a:ext uri="{FF2B5EF4-FFF2-40B4-BE49-F238E27FC236}">
                  <a16:creationId xmlns:a16="http://schemas.microsoft.com/office/drawing/2014/main" id="{3165E80E-6BF6-A7DE-154F-E4F7FC8E69F8}"/>
                </a:ext>
              </a:extLst>
            </p:cNvPr>
            <p:cNvSpPr/>
            <p:nvPr/>
          </p:nvSpPr>
          <p:spPr>
            <a:xfrm>
              <a:off x="7903376" y="5693482"/>
              <a:ext cx="2283884" cy="335692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ja-JP" altLang="en-US"/>
            </a:p>
          </p:txBody>
        </p:sp>
        <p:sp>
          <p:nvSpPr>
            <p:cNvPr id="8" name="正方形/長方形 7">
              <a:extLst>
                <a:ext uri="{FF2B5EF4-FFF2-40B4-BE49-F238E27FC236}">
                  <a16:creationId xmlns:a16="http://schemas.microsoft.com/office/drawing/2014/main" id="{B4E27EEE-A590-43BC-50E5-1F518A92014D}"/>
                </a:ext>
              </a:extLst>
            </p:cNvPr>
            <p:cNvSpPr/>
            <p:nvPr/>
          </p:nvSpPr>
          <p:spPr>
            <a:xfrm>
              <a:off x="6952563" y="3963743"/>
              <a:ext cx="4062159" cy="284201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ja-JP" altLang="en-US"/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AA246A6-CD12-A914-2D21-2EA70F827E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5955" y="2181810"/>
            <a:ext cx="2724150" cy="2952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B9C1317-94F7-B9E7-C259-02B9E9E16F37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6190" t="-2994" r="14286" b="9321"/>
          <a:stretch>
            <a:fillRect/>
          </a:stretch>
        </p:blipFill>
        <p:spPr>
          <a:xfrm flipH="1">
            <a:off x="2722527" y="814807"/>
            <a:ext cx="484686" cy="33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51056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 anchorCtr="0">
            <a:noAutofit/>
          </a:bodyPr>
          <a:lstStyle/>
          <a:p>
            <a:r>
              <a:rPr kumimoji="1" lang="ja-JP" altLang="en-US" sz="2000" dirty="0"/>
              <a:t>アクティビティパネルで「項目を選択」を検索、</a:t>
            </a:r>
            <a:br>
              <a:rPr lang="en-US" altLang="ja-JP" sz="2000" dirty="0"/>
            </a:br>
            <a:r>
              <a:rPr kumimoji="1" lang="ja-JP" altLang="en-US" sz="2000" dirty="0"/>
              <a:t>「文字を入力 </a:t>
            </a:r>
            <a:r>
              <a:rPr kumimoji="1" lang="en-US" altLang="ja-JP" sz="2000" dirty="0"/>
              <a:t>'</a:t>
            </a:r>
            <a:r>
              <a:rPr kumimoji="1" lang="ja-JP" altLang="en-US" sz="2000" dirty="0"/>
              <a:t>タイトル*</a:t>
            </a:r>
            <a:r>
              <a:rPr kumimoji="1" lang="en-US" altLang="ja-JP" sz="2000" dirty="0"/>
              <a:t>'</a:t>
            </a:r>
            <a:r>
              <a:rPr kumimoji="1" lang="ja-JP" altLang="en-US" sz="2000" dirty="0"/>
              <a:t>」の下にドラッグ＆ドロップします。</a:t>
            </a:r>
            <a:br>
              <a:rPr lang="ja-JP" altLang="en-US" sz="2000" dirty="0"/>
            </a:br>
            <a:r>
              <a:rPr kumimoji="1" lang="ja-JP" altLang="en-US" sz="2000" dirty="0"/>
              <a:t>「次で指定」をクリックします。 </a:t>
            </a:r>
            <a:br>
              <a:rPr lang="en-US" altLang="ja-JP" sz="2000" dirty="0"/>
            </a:br>
            <a:r>
              <a:rPr kumimoji="1" lang="en-US" altLang="ja-JP" sz="2000" dirty="0"/>
              <a:t>Edge</a:t>
            </a:r>
            <a:r>
              <a:rPr kumimoji="1" lang="ja-JP" altLang="en-US" sz="2000"/>
              <a:t>「</a:t>
            </a:r>
            <a:r>
              <a:rPr kumimoji="1" lang="en-US" altLang="ja-JP" sz="2000" dirty="0"/>
              <a:t>UiPath Demo</a:t>
            </a:r>
            <a:r>
              <a:rPr kumimoji="1" lang="ja-JP" altLang="en-US" sz="2000"/>
              <a:t>サイト」で、</a:t>
            </a:r>
            <a:br>
              <a:rPr lang="en-US" altLang="ja-JP" sz="2000" dirty="0"/>
            </a:br>
            <a:r>
              <a:rPr kumimoji="1" lang="ja-JP" altLang="en-US" sz="2000"/>
              <a:t>ターゲット</a:t>
            </a:r>
            <a:r>
              <a:rPr lang="ja-JP" altLang="en-US" sz="2000"/>
              <a:t>「種別</a:t>
            </a:r>
            <a:r>
              <a:rPr kumimoji="1" lang="ja-JP" altLang="en-US" sz="2000"/>
              <a:t>」</a:t>
            </a:r>
            <a:r>
              <a:rPr lang="ja-JP" altLang="en-US" sz="2000"/>
              <a:t>の右隣にある入力ボックス</a:t>
            </a:r>
            <a:r>
              <a:rPr kumimoji="1" lang="ja-JP" altLang="en-US" sz="2000"/>
              <a:t>、</a:t>
            </a:r>
            <a:br>
              <a:rPr lang="en-US" altLang="ja-JP" sz="2000" dirty="0"/>
            </a:br>
            <a:r>
              <a:rPr kumimoji="1" lang="ja-JP" altLang="en-US" sz="2000"/>
              <a:t>アンカー「種別」を選択します。</a:t>
            </a: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4A05D986-ED07-B29A-7471-4B508AE04E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505" y="2195900"/>
            <a:ext cx="8340883" cy="410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00916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576904D-94AB-8B6F-5806-16616C6CA85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r="94" b="13522"/>
          <a:stretch>
            <a:fillRect/>
          </a:stretch>
        </p:blipFill>
        <p:spPr>
          <a:xfrm>
            <a:off x="1890713" y="2066925"/>
            <a:ext cx="8973651" cy="261937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81B6B1A-1D65-7F0A-0A2E-DEAB273420D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43796" r="94" b="105"/>
          <a:stretch>
            <a:fillRect/>
          </a:stretch>
        </p:blipFill>
        <p:spPr>
          <a:xfrm>
            <a:off x="5815012" y="2066924"/>
            <a:ext cx="5039835" cy="3025785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 anchorCtr="0">
            <a:noAutofit/>
          </a:bodyPr>
          <a:lstStyle/>
          <a:p>
            <a:r>
              <a:rPr kumimoji="1" lang="ja-JP" altLang="en-US" sz="2000"/>
              <a:t>「選択する項目」で○＋をクリック、</a:t>
            </a:r>
            <a:br>
              <a:rPr kumimoji="1" lang="en-US" altLang="ja-JP" sz="2000"/>
            </a:br>
            <a:r>
              <a:rPr kumimoji="1" lang="ja-JP" altLang="en-US" sz="2000"/>
              <a:t>「</a:t>
            </a:r>
            <a:r>
              <a:rPr kumimoji="1" lang="en-US" altLang="ja-JP" sz="2000" err="1"/>
              <a:t>CurrentRow</a:t>
            </a:r>
            <a:r>
              <a:rPr kumimoji="1" lang="ja-JP" altLang="en-US" sz="2000"/>
              <a:t>」「種別」を選択します。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28F92DD-B0FD-DFBE-000C-0D282F1E8EE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6190" t="-2994" r="14286" b="9321"/>
          <a:stretch>
            <a:fillRect/>
          </a:stretch>
        </p:blipFill>
        <p:spPr>
          <a:xfrm flipH="1">
            <a:off x="2992768" y="227381"/>
            <a:ext cx="395039" cy="27301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272EB0F-53E9-F796-D663-A3C12EA401E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-2918" r="2110" b="-4000"/>
          <a:stretch>
            <a:fillRect/>
          </a:stretch>
        </p:blipFill>
        <p:spPr>
          <a:xfrm>
            <a:off x="2196308" y="2138363"/>
            <a:ext cx="2275680" cy="247649"/>
          </a:xfrm>
          <a:prstGeom prst="rect">
            <a:avLst/>
          </a:prstGeom>
        </p:spPr>
      </p:pic>
      <p:sp>
        <p:nvSpPr>
          <p:cNvPr id="18" name="正方形/長方形 5">
            <a:extLst>
              <a:ext uri="{FF2B5EF4-FFF2-40B4-BE49-F238E27FC236}">
                <a16:creationId xmlns:a16="http://schemas.microsoft.com/office/drawing/2014/main" id="{563A595F-FB34-4248-09C7-527CC17F5653}"/>
              </a:ext>
            </a:extLst>
          </p:cNvPr>
          <p:cNvSpPr/>
          <p:nvPr/>
        </p:nvSpPr>
        <p:spPr>
          <a:xfrm>
            <a:off x="2195800" y="3777952"/>
            <a:ext cx="6465798" cy="35993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marL="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ja-JP" altLang="en-US"/>
          </a:p>
        </p:txBody>
      </p:sp>
      <p:sp>
        <p:nvSpPr>
          <p:cNvPr id="19" name="正方形/長方形 6">
            <a:extLst>
              <a:ext uri="{FF2B5EF4-FFF2-40B4-BE49-F238E27FC236}">
                <a16:creationId xmlns:a16="http://schemas.microsoft.com/office/drawing/2014/main" id="{E3BD9E8B-CE9F-DFAF-5976-F1052E2D5275}"/>
              </a:ext>
            </a:extLst>
          </p:cNvPr>
          <p:cNvSpPr/>
          <p:nvPr/>
        </p:nvSpPr>
        <p:spPr>
          <a:xfrm>
            <a:off x="8813994" y="4778054"/>
            <a:ext cx="2047320" cy="3218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marL="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ja-JP" altLang="en-US"/>
          </a:p>
        </p:txBody>
      </p:sp>
      <p:pic>
        <p:nvPicPr>
          <p:cNvPr id="4" name="Picture 10">
            <a:extLst>
              <a:ext uri="{FF2B5EF4-FFF2-40B4-BE49-F238E27FC236}">
                <a16:creationId xmlns:a16="http://schemas.microsoft.com/office/drawing/2014/main" id="{F1A317B7-7BC0-9ED2-FB45-EAFA94F8C0F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6190" t="-2994" r="14286" b="9321"/>
          <a:stretch>
            <a:fillRect/>
          </a:stretch>
        </p:blipFill>
        <p:spPr>
          <a:xfrm flipH="1">
            <a:off x="2972736" y="177912"/>
            <a:ext cx="484686" cy="33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80010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アクティビティパネルで「文字を入力」を検索、</a:t>
            </a:r>
            <a:br>
              <a:rPr lang="en-US" altLang="ja-JP" sz="2000" dirty="0"/>
            </a:br>
            <a:r>
              <a:rPr kumimoji="1" lang="ja-JP" altLang="en-US" sz="2000"/>
              <a:t>「項目を選択 </a:t>
            </a:r>
            <a:r>
              <a:rPr kumimoji="1" lang="en-US" altLang="ja-JP" sz="2000" dirty="0"/>
              <a:t>'</a:t>
            </a:r>
            <a:r>
              <a:rPr kumimoji="1" lang="ja-JP" altLang="en-US" sz="2000"/>
              <a:t>種別*</a:t>
            </a:r>
            <a:r>
              <a:rPr kumimoji="1" lang="en-US" altLang="ja-JP" sz="2000" dirty="0"/>
              <a:t>'</a:t>
            </a:r>
            <a:r>
              <a:rPr kumimoji="1" lang="ja-JP" altLang="en-US" sz="2000"/>
              <a:t>」の下にドラッグ＆ドロップします。</a:t>
            </a:r>
            <a:br>
              <a:rPr lang="ja-JP" altLang="en-US" sz="2000" dirty="0"/>
            </a:br>
            <a:r>
              <a:rPr kumimoji="1" lang="ja-JP" altLang="en-US" sz="2000"/>
              <a:t>「次で指定」をクリックします。 </a:t>
            </a:r>
            <a:br>
              <a:rPr lang="en-US" altLang="ja-JP" sz="2000" dirty="0"/>
            </a:br>
            <a:r>
              <a:rPr kumimoji="1" lang="en-US" altLang="ja-JP" sz="2000" dirty="0"/>
              <a:t>Edge</a:t>
            </a:r>
            <a:r>
              <a:rPr kumimoji="1" lang="ja-JP" altLang="en-US" sz="2000"/>
              <a:t>「</a:t>
            </a:r>
            <a:r>
              <a:rPr kumimoji="1" lang="en-US" altLang="ja-JP" sz="2000" dirty="0"/>
              <a:t>UiPath Demo</a:t>
            </a:r>
            <a:r>
              <a:rPr kumimoji="1" lang="ja-JP" altLang="en-US" sz="2000"/>
              <a:t>サイト」で、</a:t>
            </a:r>
            <a:br>
              <a:rPr lang="en-US" altLang="ja-JP" sz="2000" dirty="0"/>
            </a:br>
            <a:r>
              <a:rPr kumimoji="1" lang="ja-JP" altLang="en-US" sz="2000"/>
              <a:t>ターゲット</a:t>
            </a:r>
            <a:r>
              <a:rPr kumimoji="1" lang="ja-JP" altLang="en-US" sz="2000">
                <a:solidFill>
                  <a:srgbClr val="8096A3"/>
                </a:solidFill>
              </a:rPr>
              <a:t>「</a:t>
            </a:r>
            <a:r>
              <a:rPr lang="ja-JP" altLang="en-US" sz="2000">
                <a:solidFill>
                  <a:srgbClr val="8096A3"/>
                </a:solidFill>
              </a:rPr>
              <a:t>金額</a:t>
            </a:r>
            <a:r>
              <a:rPr kumimoji="1" lang="ja-JP" altLang="en-US" sz="2000">
                <a:solidFill>
                  <a:srgbClr val="8096A3"/>
                </a:solidFill>
              </a:rPr>
              <a:t>」</a:t>
            </a:r>
            <a:r>
              <a:rPr lang="ja-JP" altLang="en-US" sz="2000"/>
              <a:t>の右隣にある入力ボックス</a:t>
            </a:r>
            <a:r>
              <a:rPr kumimoji="1" lang="ja-JP" altLang="en-US" sz="2000"/>
              <a:t>、</a:t>
            </a:r>
            <a:br>
              <a:rPr lang="en-US" altLang="ja-JP" sz="2000" dirty="0"/>
            </a:br>
            <a:r>
              <a:rPr kumimoji="1" lang="ja-JP" altLang="en-US" sz="2000"/>
              <a:t>アンカー「金額」を選択します。</a:t>
            </a:r>
          </a:p>
        </p:txBody>
      </p:sp>
      <p:pic>
        <p:nvPicPr>
          <p:cNvPr id="10" name="図 9">
            <a:extLst>
              <a:ext uri="{FF2B5EF4-FFF2-40B4-BE49-F238E27FC236}">
                <a16:creationId xmlns:a16="http://schemas.microsoft.com/office/drawing/2014/main" id="{7F6281D9-9291-6B80-B692-226585E24E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316" y="2263535"/>
            <a:ext cx="5785270" cy="3903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00982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BF884E0-AD6F-8053-EDFC-7C59C50DC6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2988" y="1400175"/>
            <a:ext cx="9915525" cy="4895850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プロパティパネルで、</a:t>
            </a:r>
            <a:br>
              <a:rPr kumimoji="1" lang="en-US" altLang="ja-JP" sz="2000"/>
            </a:br>
            <a:r>
              <a:rPr kumimoji="1" lang="ja-JP" altLang="en-US" sz="2000"/>
              <a:t>入力モード「アプリ</a:t>
            </a:r>
            <a:r>
              <a:rPr kumimoji="1" lang="en-US" altLang="ja-JP" sz="2000"/>
              <a:t>/</a:t>
            </a:r>
            <a:r>
              <a:rPr kumimoji="1" lang="ja-JP" altLang="en-US" sz="2000"/>
              <a:t>ブラウザーと同一」を選択します。</a:t>
            </a:r>
            <a:br>
              <a:rPr kumimoji="1" lang="ja-JP" altLang="en-US" sz="2000"/>
            </a:br>
            <a:r>
              <a:rPr kumimoji="1" lang="ja-JP" altLang="en-US" sz="2000"/>
              <a:t>「以下を入力」で○＋をクリック、</a:t>
            </a:r>
            <a:br>
              <a:rPr kumimoji="1" lang="en-US" altLang="ja-JP" sz="2000"/>
            </a:br>
            <a:r>
              <a:rPr kumimoji="1" lang="ja-JP" altLang="en-US" sz="2000"/>
              <a:t>「</a:t>
            </a:r>
            <a:r>
              <a:rPr kumimoji="1" lang="en-US" altLang="ja-JP" sz="2000" err="1"/>
              <a:t>CurrentRow</a:t>
            </a:r>
            <a:r>
              <a:rPr kumimoji="1" lang="ja-JP" altLang="en-US" sz="2000"/>
              <a:t>」「金額」を選択します。</a:t>
            </a:r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67CCE373-780E-07D2-3D1A-A075A76930E2}"/>
              </a:ext>
            </a:extLst>
          </p:cNvPr>
          <p:cNvGrpSpPr/>
          <p:nvPr/>
        </p:nvGrpSpPr>
        <p:grpSpPr>
          <a:xfrm>
            <a:off x="1231177" y="3019115"/>
            <a:ext cx="9530683" cy="3280885"/>
            <a:chOff x="-1081117" y="146269"/>
            <a:chExt cx="6363305" cy="2190531"/>
          </a:xfrm>
        </p:grpSpPr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56236543-08A6-A377-0444-65394A53FD61}"/>
                </a:ext>
              </a:extLst>
            </p:cNvPr>
            <p:cNvSpPr/>
            <p:nvPr/>
          </p:nvSpPr>
          <p:spPr>
            <a:xfrm>
              <a:off x="-1081117" y="1168010"/>
              <a:ext cx="4391071" cy="249660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ja-JP" altLang="en-US"/>
            </a:p>
          </p:txBody>
        </p:sp>
        <p:sp>
          <p:nvSpPr>
            <p:cNvPr id="7" name="正方形/長方形 6">
              <a:extLst>
                <a:ext uri="{FF2B5EF4-FFF2-40B4-BE49-F238E27FC236}">
                  <a16:creationId xmlns:a16="http://schemas.microsoft.com/office/drawing/2014/main" id="{711696BF-823F-623C-54FF-043D03AEA172}"/>
                </a:ext>
              </a:extLst>
            </p:cNvPr>
            <p:cNvSpPr/>
            <p:nvPr/>
          </p:nvSpPr>
          <p:spPr>
            <a:xfrm>
              <a:off x="3314700" y="2114540"/>
              <a:ext cx="1384756" cy="222260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ja-JP" altLang="en-US"/>
            </a:p>
          </p:txBody>
        </p:sp>
        <p:sp>
          <p:nvSpPr>
            <p:cNvPr id="8" name="正方形/長方形 7">
              <a:extLst>
                <a:ext uri="{FF2B5EF4-FFF2-40B4-BE49-F238E27FC236}">
                  <a16:creationId xmlns:a16="http://schemas.microsoft.com/office/drawing/2014/main" id="{D70FBB6E-5EA0-05EF-EC44-5F7B7DFCCF8C}"/>
                </a:ext>
              </a:extLst>
            </p:cNvPr>
            <p:cNvSpPr/>
            <p:nvPr/>
          </p:nvSpPr>
          <p:spPr>
            <a:xfrm>
              <a:off x="2812394" y="146269"/>
              <a:ext cx="2469794" cy="180000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ja-JP" altLang="en-US"/>
            </a:p>
          </p:txBody>
        </p:sp>
      </p:grpSp>
      <p:pic>
        <p:nvPicPr>
          <p:cNvPr id="4" name="Picture 10">
            <a:extLst>
              <a:ext uri="{FF2B5EF4-FFF2-40B4-BE49-F238E27FC236}">
                <a16:creationId xmlns:a16="http://schemas.microsoft.com/office/drawing/2014/main" id="{2F2AC8B0-2F3F-D69A-CED6-F83C1A2A90D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6190" t="-2994" r="14286" b="9321"/>
          <a:stretch>
            <a:fillRect/>
          </a:stretch>
        </p:blipFill>
        <p:spPr>
          <a:xfrm flipH="1">
            <a:off x="2711154" y="780688"/>
            <a:ext cx="484686" cy="33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98935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アクティビティパネルで「文字を入力」を検索、</a:t>
            </a:r>
            <a:br>
              <a:rPr lang="en-US" altLang="ja-JP" sz="2000"/>
            </a:br>
            <a:r>
              <a:rPr kumimoji="1" lang="ja-JP" altLang="en-US" sz="2000"/>
              <a:t>「文字を入力 </a:t>
            </a:r>
            <a:r>
              <a:rPr kumimoji="1" lang="en-US" altLang="ja-JP" sz="2000"/>
              <a:t>'</a:t>
            </a:r>
            <a:r>
              <a:rPr kumimoji="1" lang="ja-JP" altLang="en-US" sz="2000"/>
              <a:t>金額*</a:t>
            </a:r>
            <a:r>
              <a:rPr kumimoji="1" lang="en-US" altLang="ja-JP" sz="2000"/>
              <a:t>'</a:t>
            </a:r>
            <a:r>
              <a:rPr kumimoji="1" lang="ja-JP" altLang="en-US" sz="2000"/>
              <a:t>」の下にドラッグ＆ドロップします。</a:t>
            </a:r>
            <a:br>
              <a:rPr lang="ja-JP" altLang="en-US" sz="2000"/>
            </a:br>
            <a:r>
              <a:rPr kumimoji="1" lang="ja-JP" altLang="en-US" sz="2000"/>
              <a:t>「次で指定」をクリックします。 </a:t>
            </a:r>
            <a:br>
              <a:rPr lang="en-US" altLang="ja-JP" sz="2000"/>
            </a:br>
            <a:r>
              <a:rPr kumimoji="1" lang="en-US" altLang="ja-JP" sz="2000"/>
              <a:t>Edge</a:t>
            </a:r>
            <a:r>
              <a:rPr kumimoji="1" lang="ja-JP" altLang="en-US" sz="2000"/>
              <a:t>「</a:t>
            </a:r>
            <a:r>
              <a:rPr kumimoji="1" lang="en-US" altLang="ja-JP" sz="2000"/>
              <a:t>UiPath Demo</a:t>
            </a:r>
            <a:r>
              <a:rPr kumimoji="1" lang="ja-JP" altLang="en-US" sz="2000"/>
              <a:t>サイト」で、</a:t>
            </a:r>
            <a:br>
              <a:rPr lang="en-US" altLang="ja-JP" sz="2000"/>
            </a:br>
            <a:r>
              <a:rPr kumimoji="1" lang="ja-JP" altLang="en-US" sz="2000"/>
              <a:t>ターゲット「</a:t>
            </a:r>
            <a:r>
              <a:rPr lang="ja-JP" altLang="en-US" sz="2000"/>
              <a:t>備考</a:t>
            </a:r>
            <a:r>
              <a:rPr kumimoji="1" lang="ja-JP" altLang="en-US" sz="2000"/>
              <a:t>」</a:t>
            </a:r>
            <a:r>
              <a:rPr lang="ja-JP" altLang="en-US" sz="2000"/>
              <a:t>の右隣にある入力ボックス</a:t>
            </a:r>
            <a:r>
              <a:rPr kumimoji="1" lang="ja-JP" altLang="en-US" sz="2000"/>
              <a:t>、</a:t>
            </a:r>
            <a:br>
              <a:rPr lang="en-US" altLang="ja-JP" sz="2000"/>
            </a:br>
            <a:r>
              <a:rPr kumimoji="1" lang="ja-JP" altLang="en-US" sz="2000"/>
              <a:t>アンカー「備考」を選択します。</a:t>
            </a:r>
          </a:p>
        </p:txBody>
      </p:sp>
      <p:pic>
        <p:nvPicPr>
          <p:cNvPr id="10" name="図 9">
            <a:extLst>
              <a:ext uri="{FF2B5EF4-FFF2-40B4-BE49-F238E27FC236}">
                <a16:creationId xmlns:a16="http://schemas.microsoft.com/office/drawing/2014/main" id="{BD2629F5-133C-2A2E-1B3F-2834F2570C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8976" y="2201511"/>
            <a:ext cx="6046533" cy="4098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97416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5467A7C-CC6F-1D06-11FC-1CB5C50FDA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7213" y="1709738"/>
            <a:ext cx="9915525" cy="4295775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プロパティパネルで、</a:t>
            </a:r>
            <a:br>
              <a:rPr kumimoji="1" lang="en-US" altLang="ja-JP" sz="2000"/>
            </a:br>
            <a:r>
              <a:rPr kumimoji="1" lang="ja-JP" altLang="en-US" sz="2000"/>
              <a:t>入力モード「アプリ</a:t>
            </a:r>
            <a:r>
              <a:rPr kumimoji="1" lang="en-US" altLang="ja-JP" sz="2000"/>
              <a:t>/</a:t>
            </a:r>
            <a:r>
              <a:rPr kumimoji="1" lang="ja-JP" altLang="en-US" sz="2000"/>
              <a:t>ブラウザーと同一」を選択します。</a:t>
            </a:r>
            <a:br>
              <a:rPr kumimoji="1" lang="ja-JP" altLang="en-US" sz="2000"/>
            </a:br>
            <a:r>
              <a:rPr kumimoji="1" lang="ja-JP" altLang="en-US" sz="2000"/>
              <a:t>「以下を入力」で○＋をクリック、</a:t>
            </a:r>
            <a:br>
              <a:rPr kumimoji="1" lang="en-US" altLang="ja-JP" sz="2000"/>
            </a:br>
            <a:r>
              <a:rPr kumimoji="1" lang="ja-JP" altLang="en-US" sz="2000"/>
              <a:t>「</a:t>
            </a:r>
            <a:r>
              <a:rPr kumimoji="1" lang="en-US" altLang="ja-JP" sz="2000" err="1"/>
              <a:t>CurrentRow</a:t>
            </a:r>
            <a:r>
              <a:rPr kumimoji="1" lang="ja-JP" altLang="en-US" sz="2000"/>
              <a:t>」「備考」を選択します。</a:t>
            </a:r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44211596-D008-427C-871C-3C1B4AC8008E}"/>
              </a:ext>
            </a:extLst>
          </p:cNvPr>
          <p:cNvGrpSpPr/>
          <p:nvPr/>
        </p:nvGrpSpPr>
        <p:grpSpPr>
          <a:xfrm>
            <a:off x="934623" y="2992772"/>
            <a:ext cx="9092024" cy="2921004"/>
            <a:chOff x="0" y="785966"/>
            <a:chExt cx="6335338" cy="2035540"/>
          </a:xfrm>
        </p:grpSpPr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5B8F63B1-FD3F-BF3E-C2EA-3F07AA43420F}"/>
                </a:ext>
              </a:extLst>
            </p:cNvPr>
            <p:cNvSpPr/>
            <p:nvPr/>
          </p:nvSpPr>
          <p:spPr>
            <a:xfrm>
              <a:off x="0" y="1390301"/>
              <a:ext cx="4563540" cy="185432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ja-JP" altLang="en-US"/>
            </a:p>
          </p:txBody>
        </p:sp>
        <p:sp>
          <p:nvSpPr>
            <p:cNvPr id="7" name="正方形/長方形 6">
              <a:extLst>
                <a:ext uri="{FF2B5EF4-FFF2-40B4-BE49-F238E27FC236}">
                  <a16:creationId xmlns:a16="http://schemas.microsoft.com/office/drawing/2014/main" id="{1A73168D-AB11-0FD8-7C6F-2984E23EB2C3}"/>
                </a:ext>
              </a:extLst>
            </p:cNvPr>
            <p:cNvSpPr/>
            <p:nvPr/>
          </p:nvSpPr>
          <p:spPr>
            <a:xfrm>
              <a:off x="4650247" y="2626958"/>
              <a:ext cx="1414079" cy="194548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ja-JP" altLang="en-US"/>
            </a:p>
          </p:txBody>
        </p:sp>
        <p:sp>
          <p:nvSpPr>
            <p:cNvPr id="8" name="正方形/長方形 7">
              <a:extLst>
                <a:ext uri="{FF2B5EF4-FFF2-40B4-BE49-F238E27FC236}">
                  <a16:creationId xmlns:a16="http://schemas.microsoft.com/office/drawing/2014/main" id="{93961E4B-9215-3D61-D323-2CE23F8399B9}"/>
                </a:ext>
              </a:extLst>
            </p:cNvPr>
            <p:cNvSpPr/>
            <p:nvPr/>
          </p:nvSpPr>
          <p:spPr>
            <a:xfrm>
              <a:off x="4038295" y="785966"/>
              <a:ext cx="2297043" cy="173362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ja-JP" altLang="en-US"/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DCBC2CA9-05D2-AD87-7106-84B4DF3FD20E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6190" t="-2994" r="14286" b="9321"/>
          <a:stretch>
            <a:fillRect/>
          </a:stretch>
        </p:blipFill>
        <p:spPr>
          <a:xfrm flipH="1">
            <a:off x="2750863" y="810055"/>
            <a:ext cx="395039" cy="273012"/>
          </a:xfrm>
          <a:prstGeom prst="rect">
            <a:avLst/>
          </a:prstGeom>
        </p:spPr>
      </p:pic>
      <p:pic>
        <p:nvPicPr>
          <p:cNvPr id="9" name="Picture 10">
            <a:extLst>
              <a:ext uri="{FF2B5EF4-FFF2-40B4-BE49-F238E27FC236}">
                <a16:creationId xmlns:a16="http://schemas.microsoft.com/office/drawing/2014/main" id="{8CB54823-C00B-794B-F5FB-D5748CE32A5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6190" t="-2994" r="14286" b="9321"/>
          <a:stretch>
            <a:fillRect/>
          </a:stretch>
        </p:blipFill>
        <p:spPr>
          <a:xfrm flipH="1">
            <a:off x="2711154" y="780688"/>
            <a:ext cx="484686" cy="33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97304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アクティビティパネルで「クリック」を検索、</a:t>
            </a:r>
            <a:br>
              <a:rPr kumimoji="1" lang="en-US" altLang="ja-JP" sz="2000"/>
            </a:br>
            <a:r>
              <a:rPr kumimoji="1" lang="ja-JP" altLang="en-US" sz="2000"/>
              <a:t>「文字を入力 </a:t>
            </a:r>
            <a:r>
              <a:rPr kumimoji="1" lang="en-US" altLang="ja-JP" sz="2000"/>
              <a:t>'</a:t>
            </a:r>
            <a:r>
              <a:rPr kumimoji="1" lang="ja-JP" altLang="en-US" sz="2000"/>
              <a:t>備考</a:t>
            </a:r>
            <a:r>
              <a:rPr kumimoji="1" lang="en-US" altLang="ja-JP" sz="2000"/>
              <a:t>'</a:t>
            </a:r>
            <a:r>
              <a:rPr kumimoji="1" lang="ja-JP" altLang="en-US" sz="2000"/>
              <a:t>」の下にドラッグ＆ドロップします。</a:t>
            </a:r>
            <a:br>
              <a:rPr kumimoji="1" lang="ja-JP" altLang="en-US" sz="2000"/>
            </a:br>
            <a:r>
              <a:rPr kumimoji="1" lang="ja-JP" altLang="en-US" sz="2000"/>
              <a:t>「次で指定」をクリックします。 </a:t>
            </a:r>
            <a:br>
              <a:rPr kumimoji="1" lang="en-US" altLang="ja-JP" sz="2000"/>
            </a:br>
            <a:r>
              <a:rPr kumimoji="1" lang="en-US" altLang="ja-JP" sz="2000"/>
              <a:t>Edge</a:t>
            </a:r>
            <a:r>
              <a:rPr kumimoji="1" lang="ja-JP" altLang="en-US" sz="2000"/>
              <a:t>「</a:t>
            </a:r>
            <a:r>
              <a:rPr kumimoji="1" lang="en-US" altLang="ja-JP" sz="2000"/>
              <a:t>UiPath Demo</a:t>
            </a:r>
            <a:r>
              <a:rPr kumimoji="1" lang="ja-JP" altLang="en-US" sz="2000"/>
              <a:t>サイト」で、</a:t>
            </a:r>
            <a:br>
              <a:rPr kumimoji="1" lang="en-US" altLang="ja-JP" sz="2000"/>
            </a:br>
            <a:r>
              <a:rPr kumimoji="1" lang="ja-JP" altLang="en-US" sz="2000"/>
              <a:t>ターゲット「登録する」、</a:t>
            </a:r>
            <a:br>
              <a:rPr kumimoji="1" lang="en-US" altLang="ja-JP" sz="2000"/>
            </a:br>
            <a:r>
              <a:rPr kumimoji="1" lang="ja-JP" altLang="en-US" sz="2000"/>
              <a:t>アンカー「キャンセル」を選択します。</a:t>
            </a: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8F914C75-627A-1EF4-0FD2-262C81481E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2779" y="2139488"/>
            <a:ext cx="8012666" cy="3921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7164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2C57CB6-B4A0-A43A-9E1E-64D9497D28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4" y="2929862"/>
            <a:ext cx="10801351" cy="720000"/>
          </a:xfrm>
        </p:spPr>
        <p:txBody>
          <a:bodyPr anchor="ctr">
            <a:normAutofit/>
          </a:bodyPr>
          <a:lstStyle/>
          <a:p>
            <a:r>
              <a:rPr lang="ja-JP" altLang="en-US"/>
              <a:t>画面構成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1951180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6D61383-0D95-EE96-D417-DAF7723B1E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3475" y="1004888"/>
            <a:ext cx="9925050" cy="4848225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プロパティパネルで、</a:t>
            </a:r>
            <a:br>
              <a:rPr kumimoji="1" lang="en-US" altLang="ja-JP" sz="2000"/>
            </a:br>
            <a:r>
              <a:rPr kumimoji="1" lang="ja-JP" altLang="en-US" sz="2000"/>
              <a:t>入力モード「アプリ</a:t>
            </a:r>
            <a:r>
              <a:rPr kumimoji="1" lang="en-US" altLang="ja-JP" sz="2000"/>
              <a:t>/</a:t>
            </a:r>
            <a:r>
              <a:rPr kumimoji="1" lang="ja-JP" altLang="en-US" sz="2000"/>
              <a:t>ブラウザーと同一」を選択します。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26546E36-EF0E-F7A0-70C0-E9ED768634C5}"/>
              </a:ext>
            </a:extLst>
          </p:cNvPr>
          <p:cNvSpPr/>
          <p:nvPr/>
        </p:nvSpPr>
        <p:spPr>
          <a:xfrm>
            <a:off x="7263937" y="3431104"/>
            <a:ext cx="3621515" cy="28420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04447496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en-US" altLang="ja-JP" sz="2000"/>
              <a:t>Edge</a:t>
            </a:r>
            <a:r>
              <a:rPr kumimoji="1" lang="ja-JP" altLang="en-US" sz="2000"/>
              <a:t>「</a:t>
            </a:r>
            <a:r>
              <a:rPr kumimoji="1" lang="en-US" altLang="ja-JP" sz="2000"/>
              <a:t>UiPath Demo</a:t>
            </a:r>
            <a:r>
              <a:rPr kumimoji="1" lang="ja-JP" altLang="en-US" sz="2000"/>
              <a:t>サイト」で、</a:t>
            </a:r>
            <a:br>
              <a:rPr kumimoji="1" lang="en-US" altLang="ja-JP" sz="2000"/>
            </a:br>
            <a:r>
              <a:rPr kumimoji="1" lang="ja-JP" altLang="en-US" sz="2000"/>
              <a:t>（仮データを入力し）</a:t>
            </a:r>
            <a:br>
              <a:rPr kumimoji="1" lang="en-US" altLang="ja-JP" sz="2000"/>
            </a:br>
            <a:r>
              <a:rPr kumimoji="1" lang="ja-JP" altLang="en-US" sz="2000"/>
              <a:t>「登録する」をクリック（図の画面に遷移）します。</a:t>
            </a:r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id="{C16504B0-12A6-9D08-8D19-C69148A46D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00" y="1080000"/>
            <a:ext cx="10800000" cy="298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12037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アクティビティパネルで「テキストを取得」を検索、</a:t>
            </a:r>
            <a:br>
              <a:rPr lang="en-US" altLang="ja-JP" sz="2000"/>
            </a:br>
            <a:r>
              <a:rPr kumimoji="1" lang="ja-JP" altLang="en-US" sz="2000"/>
              <a:t>「クリック </a:t>
            </a:r>
            <a:r>
              <a:rPr kumimoji="1" lang="en-US" altLang="ja-JP" sz="2000"/>
              <a:t>'</a:t>
            </a:r>
            <a:r>
              <a:rPr kumimoji="1" lang="ja-JP" altLang="en-US" sz="2000"/>
              <a:t>登録する</a:t>
            </a:r>
            <a:r>
              <a:rPr kumimoji="1" lang="en-US" altLang="ja-JP" sz="2000"/>
              <a:t>'</a:t>
            </a:r>
            <a:r>
              <a:rPr kumimoji="1" lang="ja-JP" altLang="en-US" sz="2000"/>
              <a:t>」の下にドラッグ＆ドロップします。</a:t>
            </a:r>
            <a:br>
              <a:rPr lang="en-US" altLang="ja-JP" sz="2000"/>
            </a:br>
            <a:r>
              <a:rPr kumimoji="1" lang="ja-JP" altLang="en-US" sz="2000"/>
              <a:t> 「次で指定」をクリックします。 </a:t>
            </a:r>
            <a:br>
              <a:rPr lang="en-US" altLang="ja-JP" sz="2000"/>
            </a:br>
            <a:r>
              <a:rPr kumimoji="1" lang="en-US" altLang="ja-JP" sz="2000"/>
              <a:t>Edge</a:t>
            </a:r>
            <a:r>
              <a:rPr kumimoji="1" lang="ja-JP" altLang="en-US" sz="2000"/>
              <a:t>「</a:t>
            </a:r>
            <a:r>
              <a:rPr kumimoji="1" lang="en-US" altLang="ja-JP" sz="2000"/>
              <a:t>UiPath Demo</a:t>
            </a:r>
            <a:r>
              <a:rPr kumimoji="1" lang="ja-JP" altLang="en-US" sz="2000"/>
              <a:t>サイト」で、</a:t>
            </a:r>
            <a:br>
              <a:rPr lang="en-US" altLang="ja-JP" sz="2000"/>
            </a:br>
            <a:r>
              <a:rPr kumimoji="1" lang="ja-JP" altLang="en-US" sz="2000"/>
              <a:t>ターゲット「</a:t>
            </a:r>
            <a:r>
              <a:rPr lang="ja-JP" altLang="en-US" sz="2000"/>
              <a:t>コード：</a:t>
            </a:r>
            <a:r>
              <a:rPr kumimoji="1" lang="ja-JP" altLang="en-US" sz="2000"/>
              <a:t>」</a:t>
            </a:r>
            <a:r>
              <a:rPr lang="ja-JP" altLang="en-US" sz="2000"/>
              <a:t>右隣にある文字列</a:t>
            </a:r>
            <a:r>
              <a:rPr kumimoji="1" lang="ja-JP" altLang="en-US" sz="2000"/>
              <a:t>、</a:t>
            </a:r>
            <a:br>
              <a:rPr lang="en-US" altLang="ja-JP" sz="2000"/>
            </a:br>
            <a:r>
              <a:rPr kumimoji="1" lang="ja-JP" altLang="en-US" sz="2000"/>
              <a:t>アンカー「コード</a:t>
            </a:r>
            <a:r>
              <a:rPr kumimoji="1" lang="en-US" altLang="ja-JP" sz="2000"/>
              <a:t>:</a:t>
            </a:r>
            <a:r>
              <a:rPr kumimoji="1" lang="ja-JP" altLang="en-US" sz="2000"/>
              <a:t>」を選択します。</a:t>
            </a:r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E1819411-FDD0-B144-65CD-AF24A9CBF1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3365" y="2199075"/>
            <a:ext cx="8305709" cy="4100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7530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「保存先」で○＋をクリック、</a:t>
            </a:r>
            <a:br>
              <a:rPr kumimoji="1" lang="en-US" altLang="ja-JP" sz="2000"/>
            </a:br>
            <a:r>
              <a:rPr kumimoji="1" lang="ja-JP" altLang="en-US" sz="2000"/>
              <a:t>「変数を作成」を選択します。</a:t>
            </a:r>
          </a:p>
        </p:txBody>
      </p:sp>
      <p:pic>
        <p:nvPicPr>
          <p:cNvPr id="10" name="図 9">
            <a:extLst>
              <a:ext uri="{FF2B5EF4-FFF2-40B4-BE49-F238E27FC236}">
                <a16:creationId xmlns:a16="http://schemas.microsoft.com/office/drawing/2014/main" id="{8C34A433-C50F-43EA-7F69-95131DDFDB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00" y="1080000"/>
            <a:ext cx="9827703" cy="540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7C3C629-91A6-343D-2504-2D6E54531D9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6190" t="-2994" r="14286" b="9321"/>
          <a:stretch>
            <a:fillRect/>
          </a:stretch>
        </p:blipFill>
        <p:spPr>
          <a:xfrm flipH="1">
            <a:off x="2218506" y="162877"/>
            <a:ext cx="395039" cy="273012"/>
          </a:xfrm>
          <a:prstGeom prst="rect">
            <a:avLst/>
          </a:prstGeom>
        </p:spPr>
      </p:pic>
      <p:pic>
        <p:nvPicPr>
          <p:cNvPr id="5" name="Picture 10">
            <a:extLst>
              <a:ext uri="{FF2B5EF4-FFF2-40B4-BE49-F238E27FC236}">
                <a16:creationId xmlns:a16="http://schemas.microsoft.com/office/drawing/2014/main" id="{CB3ACB2A-CD57-03FC-4BBB-9090508FF48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6190" t="-2994" r="14286" b="9321"/>
          <a:stretch>
            <a:fillRect/>
          </a:stretch>
        </p:blipFill>
        <p:spPr>
          <a:xfrm flipH="1">
            <a:off x="2210736" y="132419"/>
            <a:ext cx="484686" cy="33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43920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「変数に名前を付ける」に「コード」を入力、</a:t>
            </a:r>
            <a:br>
              <a:rPr lang="en-US" altLang="ja-JP" sz="2000" dirty="0"/>
            </a:br>
            <a:r>
              <a:rPr kumimoji="1" lang="ja-JP" altLang="en-US" sz="2000"/>
              <a:t>「</a:t>
            </a:r>
            <a:r>
              <a:rPr kumimoji="1" lang="en-US" altLang="ja-JP" sz="2000" dirty="0"/>
              <a:t>OK</a:t>
            </a:r>
            <a:r>
              <a:rPr kumimoji="1" lang="ja-JP" altLang="en-US" sz="2000"/>
              <a:t>」をクリックします。</a:t>
            </a:r>
            <a:endParaRPr lang="en-US" altLang="ja-JP" sz="2000" dirty="0"/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600974EF-6A9C-651F-FF7E-B314EFDCB0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00" y="1260000"/>
            <a:ext cx="8842421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23879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8A04A774-D8FB-13E4-7439-7B04993F7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sz="2000">
                <a:latin typeface="Meiryo"/>
                <a:ea typeface="Meiryo"/>
                <a:cs typeface="+mj-lt"/>
              </a:rPr>
              <a:t>変数「コード」のデータ型を「String」に設定</a:t>
            </a:r>
            <a:r>
              <a:rPr lang="ja-JP" altLang="en-US" sz="2000">
                <a:latin typeface="Meiryo"/>
                <a:ea typeface="Meiryo"/>
                <a:cs typeface="+mj-lt"/>
              </a:rPr>
              <a:t>します</a:t>
            </a:r>
            <a:endParaRPr lang="en-US" altLang="ja-JP" sz="2000">
              <a:latin typeface="Meiryo"/>
              <a:ea typeface="Meiryo"/>
              <a:cs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6C67679-EA4E-7B27-AA13-991C27EB61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3950" y="1376363"/>
            <a:ext cx="9944100" cy="4105275"/>
          </a:xfrm>
          <a:prstGeom prst="rect">
            <a:avLst/>
          </a:prstGeom>
        </p:spPr>
      </p:pic>
      <p:sp>
        <p:nvSpPr>
          <p:cNvPr id="9" name="正方形/長方形 6">
            <a:extLst>
              <a:ext uri="{FF2B5EF4-FFF2-40B4-BE49-F238E27FC236}">
                <a16:creationId xmlns:a16="http://schemas.microsoft.com/office/drawing/2014/main" id="{D3B6C07B-0E30-3F1D-48D9-8A9C3CB076F4}"/>
              </a:ext>
            </a:extLst>
          </p:cNvPr>
          <p:cNvSpPr/>
          <p:nvPr/>
        </p:nvSpPr>
        <p:spPr>
          <a:xfrm>
            <a:off x="7668750" y="4156275"/>
            <a:ext cx="3169650" cy="3695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marL="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52281262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アクティビティパネルで「セルに書き込み」を検索、</a:t>
            </a:r>
            <a:br>
              <a:rPr kumimoji="1" lang="en-US" altLang="ja-JP" sz="2000"/>
            </a:br>
            <a:r>
              <a:rPr kumimoji="1" lang="ja-JP" altLang="en-US" sz="2000"/>
              <a:t>「テキストを取得 </a:t>
            </a:r>
            <a:r>
              <a:rPr kumimoji="1" lang="en-US" altLang="ja-JP" sz="2000"/>
              <a:t>'</a:t>
            </a:r>
            <a:r>
              <a:rPr kumimoji="1" lang="ja-JP" altLang="en-US" sz="2000"/>
              <a:t>コード</a:t>
            </a:r>
            <a:r>
              <a:rPr kumimoji="1" lang="en-US" altLang="ja-JP" sz="2000"/>
              <a:t>:'</a:t>
            </a:r>
            <a:r>
              <a:rPr kumimoji="1" lang="ja-JP" altLang="en-US" sz="2000"/>
              <a:t>」の下にドラッグ＆ドロップします。</a:t>
            </a:r>
            <a:br>
              <a:rPr kumimoji="1" lang="ja-JP" altLang="en-US" sz="2000"/>
            </a:br>
            <a:r>
              <a:rPr kumimoji="1" lang="ja-JP" altLang="en-US" sz="2000"/>
              <a:t>「書き込む内容」で○＋をクリック、</a:t>
            </a:r>
            <a:br>
              <a:rPr kumimoji="1" lang="en-US" altLang="ja-JP" sz="2000"/>
            </a:br>
            <a:r>
              <a:rPr kumimoji="1" lang="ja-JP" altLang="en-US" sz="2000"/>
              <a:t>「変数を使用」を選択します。</a:t>
            </a:r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ADECE5A2-37A7-145F-357F-5D301F74EC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263" y="1720737"/>
            <a:ext cx="10800000" cy="418465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3BCFB17-57BD-D249-F28B-F2BFB544F47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6190" t="-2994" r="14286" b="9321"/>
          <a:stretch>
            <a:fillRect/>
          </a:stretch>
        </p:blipFill>
        <p:spPr>
          <a:xfrm flipH="1">
            <a:off x="2995316" y="812604"/>
            <a:ext cx="395039" cy="273012"/>
          </a:xfrm>
          <a:prstGeom prst="rect">
            <a:avLst/>
          </a:prstGeom>
        </p:spPr>
      </p:pic>
      <p:pic>
        <p:nvPicPr>
          <p:cNvPr id="6" name="Picture 10">
            <a:extLst>
              <a:ext uri="{FF2B5EF4-FFF2-40B4-BE49-F238E27FC236}">
                <a16:creationId xmlns:a16="http://schemas.microsoft.com/office/drawing/2014/main" id="{D77B1CC7-20E0-B4C4-BE3E-069E4B967DC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6190" t="-2994" r="14286" b="9321"/>
          <a:stretch>
            <a:fillRect/>
          </a:stretch>
        </p:blipFill>
        <p:spPr>
          <a:xfrm flipH="1">
            <a:off x="2972736" y="780688"/>
            <a:ext cx="484686" cy="33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42209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変数「コード」を選択します。</a:t>
            </a:r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4211C688-8962-B9FE-7671-BB57173A89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2278" y="1257209"/>
            <a:ext cx="10800000" cy="3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76738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443EA7D1-A126-FAA7-0608-AB92C04069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999" y="1333999"/>
            <a:ext cx="10800000" cy="4293712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「書き込む場所」で○＋をクリック、</a:t>
            </a:r>
            <a:br>
              <a:rPr kumimoji="1" lang="en-US" altLang="ja-JP" sz="2000"/>
            </a:br>
            <a:r>
              <a:rPr kumimoji="1" lang="ja-JP" altLang="en-US" sz="2000"/>
              <a:t>「</a:t>
            </a:r>
            <a:r>
              <a:rPr kumimoji="1" lang="en-US" altLang="ja-JP" sz="2000" err="1"/>
              <a:t>CurrentRow</a:t>
            </a:r>
            <a:r>
              <a:rPr kumimoji="1" lang="ja-JP" altLang="en-US" sz="2000"/>
              <a:t>」「番号」を選択します。</a:t>
            </a: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459959DB-AE58-B638-38B3-49452D985B89}"/>
              </a:ext>
            </a:extLst>
          </p:cNvPr>
          <p:cNvSpPr/>
          <p:nvPr/>
        </p:nvSpPr>
        <p:spPr>
          <a:xfrm>
            <a:off x="900000" y="2816653"/>
            <a:ext cx="8352000" cy="36000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ja-JP" altLang="en-US"/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D3B6C07B-0E30-3F1D-48D9-8A9C3CB076F4}"/>
              </a:ext>
            </a:extLst>
          </p:cNvPr>
          <p:cNvSpPr/>
          <p:nvPr/>
        </p:nvSpPr>
        <p:spPr>
          <a:xfrm>
            <a:off x="9288000" y="5258000"/>
            <a:ext cx="2160000" cy="36000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ja-JP" alt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A64C0C-B062-2BAF-92C3-28B85259F36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6190" t="-2994" r="14286" b="9321"/>
          <a:stretch>
            <a:fillRect/>
          </a:stretch>
        </p:blipFill>
        <p:spPr>
          <a:xfrm flipH="1">
            <a:off x="2971126" y="179000"/>
            <a:ext cx="395039" cy="273012"/>
          </a:xfrm>
          <a:prstGeom prst="rect">
            <a:avLst/>
          </a:prstGeom>
        </p:spPr>
      </p:pic>
      <p:pic>
        <p:nvPicPr>
          <p:cNvPr id="5" name="Picture 10">
            <a:extLst>
              <a:ext uri="{FF2B5EF4-FFF2-40B4-BE49-F238E27FC236}">
                <a16:creationId xmlns:a16="http://schemas.microsoft.com/office/drawing/2014/main" id="{9EE962FD-8F3F-A317-9AFC-177D0B877BB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6190" t="-2994" r="14286" b="9321"/>
          <a:stretch>
            <a:fillRect/>
          </a:stretch>
        </p:blipFill>
        <p:spPr>
          <a:xfrm flipH="1">
            <a:off x="2972736" y="132419"/>
            <a:ext cx="484686" cy="33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11327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アクティビティパネルで「クリック」を検索、</a:t>
            </a:r>
            <a:br>
              <a:rPr kumimoji="1" lang="en-US" altLang="ja-JP" sz="2000"/>
            </a:br>
            <a:r>
              <a:rPr kumimoji="1" lang="ja-JP" altLang="en-US" sz="2000"/>
              <a:t>「セルに書き込み」の下にドラッグ＆ドロップします。</a:t>
            </a:r>
            <a:br>
              <a:rPr kumimoji="1" lang="ja-JP" altLang="en-US" sz="2000"/>
            </a:br>
            <a:r>
              <a:rPr kumimoji="1" lang="ja-JP" altLang="en-US" sz="2000"/>
              <a:t>「次で指定」をクリックします。 </a:t>
            </a:r>
            <a:br>
              <a:rPr kumimoji="1" lang="en-US" altLang="ja-JP" sz="2000"/>
            </a:br>
            <a:r>
              <a:rPr kumimoji="1" lang="en-US" altLang="ja-JP" sz="2000"/>
              <a:t>Edge</a:t>
            </a:r>
            <a:r>
              <a:rPr kumimoji="1" lang="ja-JP" altLang="en-US" sz="2000"/>
              <a:t>「</a:t>
            </a:r>
            <a:r>
              <a:rPr kumimoji="1" lang="en-US" altLang="ja-JP" sz="2000"/>
              <a:t>UiPath Demo</a:t>
            </a:r>
            <a:r>
              <a:rPr kumimoji="1" lang="ja-JP" altLang="en-US" sz="2000"/>
              <a:t>サイト」で、</a:t>
            </a:r>
            <a:br>
              <a:rPr kumimoji="1" lang="en-US" altLang="ja-JP" sz="2000"/>
            </a:br>
            <a:r>
              <a:rPr kumimoji="1" lang="ja-JP" altLang="en-US" sz="2000"/>
              <a:t>ターゲット「戻る」、</a:t>
            </a:r>
            <a:br>
              <a:rPr kumimoji="1" lang="en-US" altLang="ja-JP" sz="2000"/>
            </a:br>
            <a:r>
              <a:rPr kumimoji="1" lang="ja-JP" altLang="en-US" sz="2000"/>
              <a:t>アンカー「破棄」を選択します。</a:t>
            </a: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D8E4B1E7-09B4-AD7C-580A-201590EA0A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74" y="2104046"/>
            <a:ext cx="8508267" cy="4195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859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8EE2B1C-BFEC-C97E-A70F-63148E23BE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3619" y="1083861"/>
            <a:ext cx="10196285" cy="5415991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上部が「リボン」です。</a:t>
            </a:r>
          </a:p>
        </p:txBody>
      </p:sp>
      <p:sp>
        <p:nvSpPr>
          <p:cNvPr id="9" name="正方形/長方形 4">
            <a:extLst>
              <a:ext uri="{FF2B5EF4-FFF2-40B4-BE49-F238E27FC236}">
                <a16:creationId xmlns:a16="http://schemas.microsoft.com/office/drawing/2014/main" id="{379EE636-3BE0-725F-D8D1-C106BE84C581}"/>
              </a:ext>
            </a:extLst>
          </p:cNvPr>
          <p:cNvSpPr/>
          <p:nvPr/>
        </p:nvSpPr>
        <p:spPr>
          <a:xfrm>
            <a:off x="707904" y="1080001"/>
            <a:ext cx="10204139" cy="90142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marL="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72133767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94562C6-571F-A2CB-CEB0-FBFCD9AAB3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4451" y="1437297"/>
            <a:ext cx="9791700" cy="4505325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プロパティパネルで、</a:t>
            </a:r>
            <a:br>
              <a:rPr kumimoji="1" lang="en-US" altLang="ja-JP" sz="2000"/>
            </a:br>
            <a:r>
              <a:rPr kumimoji="1" lang="ja-JP" altLang="en-US" sz="2000"/>
              <a:t>入力モード「アプリ</a:t>
            </a:r>
            <a:r>
              <a:rPr kumimoji="1" lang="en-US" altLang="ja-JP" sz="2000"/>
              <a:t>/</a:t>
            </a:r>
            <a:r>
              <a:rPr kumimoji="1" lang="ja-JP" altLang="en-US" sz="2000"/>
              <a:t>ブラウザーと同一」を選択します。</a:t>
            </a:r>
          </a:p>
        </p:txBody>
      </p:sp>
      <p:sp>
        <p:nvSpPr>
          <p:cNvPr id="10" name="正方形/長方形 6">
            <a:extLst>
              <a:ext uri="{FF2B5EF4-FFF2-40B4-BE49-F238E27FC236}">
                <a16:creationId xmlns:a16="http://schemas.microsoft.com/office/drawing/2014/main" id="{6E3E09BF-253B-40E8-63DF-6B194795913D}"/>
              </a:ext>
            </a:extLst>
          </p:cNvPr>
          <p:cNvSpPr/>
          <p:nvPr/>
        </p:nvSpPr>
        <p:spPr>
          <a:xfrm>
            <a:off x="7200329" y="3845344"/>
            <a:ext cx="3537863" cy="26605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23388871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lang="ja-JP" sz="2000">
                <a:cs typeface="Arial"/>
              </a:rPr>
              <a:t>以上でロボは完成です</a:t>
            </a:r>
            <a:r>
              <a:rPr lang="ja-JP" altLang="en-US" sz="2000">
                <a:cs typeface="Arial"/>
              </a:rPr>
              <a:t>。</a:t>
            </a:r>
            <a:br>
              <a:rPr lang="ja-JP" altLang="en-US" sz="2000" dirty="0"/>
            </a:br>
            <a:r>
              <a:rPr lang="ja-JP" altLang="en-US" sz="2000"/>
              <a:t>リボンで</a:t>
            </a:r>
            <a:r>
              <a:rPr kumimoji="1" lang="ja-JP" altLang="en-US" sz="2000"/>
              <a:t>「実行」をクリック</a:t>
            </a:r>
            <a:r>
              <a:rPr lang="ja-JP" altLang="en-US" sz="2000"/>
              <a:t>すると、下記リンク先ビデオのように動作</a:t>
            </a:r>
            <a:r>
              <a:rPr kumimoji="1" lang="ja-JP" altLang="en-US" sz="2000"/>
              <a:t>します。</a:t>
            </a:r>
            <a:endParaRPr lang="en-US" altLang="ja-JP"/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B5C306EE-5334-1231-6395-56AFF015EAEB}"/>
              </a:ext>
            </a:extLst>
          </p:cNvPr>
          <p:cNvGrpSpPr/>
          <p:nvPr/>
        </p:nvGrpSpPr>
        <p:grpSpPr>
          <a:xfrm>
            <a:off x="719999" y="1080000"/>
            <a:ext cx="10800000" cy="1336341"/>
            <a:chOff x="719999" y="1080000"/>
            <a:chExt cx="10800000" cy="1336341"/>
          </a:xfrm>
        </p:grpSpPr>
        <p:pic>
          <p:nvPicPr>
            <p:cNvPr id="2" name="図 1">
              <a:extLst>
                <a:ext uri="{FF2B5EF4-FFF2-40B4-BE49-F238E27FC236}">
                  <a16:creationId xmlns:a16="http://schemas.microsoft.com/office/drawing/2014/main" id="{CB6E8CCE-C367-E7DD-5EED-5FFD0CCD04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19999" y="1080000"/>
              <a:ext cx="10800000" cy="1336341"/>
            </a:xfrm>
            <a:prstGeom prst="rect">
              <a:avLst/>
            </a:prstGeom>
          </p:spPr>
        </p:pic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7FF80D81-B249-5048-D296-D27E96931183}"/>
                </a:ext>
              </a:extLst>
            </p:cNvPr>
            <p:cNvSpPr/>
            <p:nvPr/>
          </p:nvSpPr>
          <p:spPr>
            <a:xfrm>
              <a:off x="10080000" y="1440000"/>
              <a:ext cx="504000" cy="936000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ja-JP" altLang="en-US"/>
            </a:p>
          </p:txBody>
        </p:sp>
      </p:grp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4FEA1C69-12E6-ED07-1EDD-1F727F24ECCB}"/>
              </a:ext>
            </a:extLst>
          </p:cNvPr>
          <p:cNvSpPr txBox="1"/>
          <p:nvPr/>
        </p:nvSpPr>
        <p:spPr>
          <a:xfrm>
            <a:off x="1799999" y="3600000"/>
            <a:ext cx="8352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 fontAlgn="ctr">
              <a:spcBef>
                <a:spcPts val="0"/>
              </a:spcBef>
              <a:spcAft>
                <a:spcPts val="0"/>
              </a:spcAft>
            </a:pPr>
            <a:r>
              <a:rPr lang="ja-JP" altLang="ja-JP" sz="1800" dirty="0">
                <a:effectLst/>
                <a:latin typeface="+mn-ea"/>
                <a:hlinkClick r:id="rId4"/>
              </a:rPr>
              <a:t>https://jeragroup.sharepoint.com/sites/Jenny1/Shared%20Documents/General/@共有ファイル/20_教育資料/数分でマスターできる超入門ミニロボ</a:t>
            </a:r>
            <a:r>
              <a:rPr lang="en-US" altLang="ja-JP" sz="1800" dirty="0">
                <a:effectLst/>
                <a:latin typeface="+mn-ea"/>
                <a:hlinkClick r:id="rId4"/>
              </a:rPr>
              <a:t>/</a:t>
            </a:r>
            <a:r>
              <a:rPr lang="ja-JP" altLang="ja-JP" sz="1800" dirty="0">
                <a:effectLst/>
                <a:latin typeface="+mn-ea"/>
                <a:hlinkClick r:id="rId4"/>
              </a:rPr>
              <a:t>市民開発サポート要員スキル向上/05_Excelとブラウザ操作</a:t>
            </a:r>
            <a:r>
              <a:rPr lang="en-US" altLang="ja-JP" sz="1800" dirty="0">
                <a:effectLst/>
                <a:latin typeface="+mn-ea"/>
                <a:hlinkClick r:id="rId4"/>
              </a:rPr>
              <a:t>/</a:t>
            </a:r>
            <a:r>
              <a:rPr lang="ja-JP" altLang="ja-JP" sz="1800" dirty="0">
                <a:effectLst/>
                <a:latin typeface="+mn-ea"/>
                <a:hlinkClick r:id="rId4"/>
              </a:rPr>
              <a:t>ロボ作成動画</a:t>
            </a:r>
            <a:r>
              <a:rPr lang="en-US" altLang="ja-JP" sz="1800" dirty="0">
                <a:effectLst/>
                <a:latin typeface="+mn-ea"/>
                <a:hlinkClick r:id="rId4"/>
              </a:rPr>
              <a:t>/</a:t>
            </a:r>
            <a:r>
              <a:rPr lang="ja-JP" altLang="ja-JP" sz="1800" dirty="0">
                <a:effectLst/>
                <a:latin typeface="+mn-ea"/>
                <a:hlinkClick r:id="rId4"/>
              </a:rPr>
              <a:t>ロボ実行動画</a:t>
            </a:r>
            <a:r>
              <a:rPr lang="en-US" altLang="ja-JP" sz="1800" dirty="0">
                <a:effectLst/>
                <a:latin typeface="+mn-ea"/>
                <a:hlinkClick r:id="rId4"/>
              </a:rPr>
              <a:t>.mp4</a:t>
            </a:r>
            <a:endParaRPr lang="ja-JP" altLang="ja-JP" sz="1800" dirty="0">
              <a:effectLst/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785656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2D3BD11-90C6-E267-F302-4E81F72B73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3619" y="1083861"/>
            <a:ext cx="10196285" cy="5415991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kumimoji="1" lang="ja-JP" altLang="en-US" sz="2000"/>
              <a:t>左側が「アクティビティパネル」です。</a:t>
            </a:r>
          </a:p>
        </p:txBody>
      </p:sp>
      <p:sp>
        <p:nvSpPr>
          <p:cNvPr id="8" name="正方形/長方形 4">
            <a:extLst>
              <a:ext uri="{FF2B5EF4-FFF2-40B4-BE49-F238E27FC236}">
                <a16:creationId xmlns:a16="http://schemas.microsoft.com/office/drawing/2014/main" id="{379EE636-3BE0-725F-D8D1-C106BE84C581}"/>
              </a:ext>
            </a:extLst>
          </p:cNvPr>
          <p:cNvSpPr/>
          <p:nvPr/>
        </p:nvSpPr>
        <p:spPr>
          <a:xfrm>
            <a:off x="708455" y="1996272"/>
            <a:ext cx="2443110" cy="411218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marL="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04857261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225AEB4-9AB6-8371-ACE3-D37905C6B4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3619" y="1083861"/>
            <a:ext cx="10196285" cy="5415991"/>
          </a:xfrm>
          <a:prstGeom prst="rect">
            <a:avLst/>
          </a:prstGeom>
        </p:spPr>
      </p:pic>
      <p:sp>
        <p:nvSpPr>
          <p:cNvPr id="3" name="タイトル 2">
            <a:extLst>
              <a:ext uri="{FF2B5EF4-FFF2-40B4-BE49-F238E27FC236}">
                <a16:creationId xmlns:a16="http://schemas.microsoft.com/office/drawing/2014/main" id="{07F4F383-8076-7B4C-2AEB-0EEF90E8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499" y="180000"/>
            <a:ext cx="11215099" cy="720000"/>
          </a:xfrm>
        </p:spPr>
        <p:txBody>
          <a:bodyPr anchor="t" anchorCtr="0">
            <a:noAutofit/>
          </a:bodyPr>
          <a:lstStyle/>
          <a:p>
            <a:r>
              <a:rPr lang="ja-JP" altLang="en-US" sz="2000"/>
              <a:t>中央</a:t>
            </a:r>
            <a:r>
              <a:rPr kumimoji="1" lang="ja-JP" altLang="en-US" sz="2000"/>
              <a:t>が「デザイナーパネル」です。</a:t>
            </a:r>
          </a:p>
        </p:txBody>
      </p:sp>
      <p:sp>
        <p:nvSpPr>
          <p:cNvPr id="10" name="正方形/長方形 4">
            <a:extLst>
              <a:ext uri="{FF2B5EF4-FFF2-40B4-BE49-F238E27FC236}">
                <a16:creationId xmlns:a16="http://schemas.microsoft.com/office/drawing/2014/main" id="{379EE636-3BE0-725F-D8D1-C106BE84C581}"/>
              </a:ext>
            </a:extLst>
          </p:cNvPr>
          <p:cNvSpPr/>
          <p:nvPr/>
        </p:nvSpPr>
        <p:spPr>
          <a:xfrm flipH="1">
            <a:off x="3157063" y="2199142"/>
            <a:ext cx="7488476" cy="383619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marL="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70912117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heme/theme1.xml><?xml version="1.0" encoding="utf-8"?>
<a:theme xmlns:a="http://schemas.openxmlformats.org/drawingml/2006/main" name="3_JERAテンプレート">
  <a:themeElements>
    <a:clrScheme name="ユーザー定義 7">
      <a:dk1>
        <a:sysClr val="windowText" lastClr="000000"/>
      </a:dk1>
      <a:lt1>
        <a:sysClr val="window" lastClr="FFFFFF"/>
      </a:lt1>
      <a:dk2>
        <a:srgbClr val="0088CD"/>
      </a:dk2>
      <a:lt2>
        <a:srgbClr val="8096A3"/>
      </a:lt2>
      <a:accent1>
        <a:srgbClr val="8096A3"/>
      </a:accent1>
      <a:accent2>
        <a:srgbClr val="0088CD"/>
      </a:accent2>
      <a:accent3>
        <a:srgbClr val="70B42C"/>
      </a:accent3>
      <a:accent4>
        <a:srgbClr val="E88000"/>
      </a:accent4>
      <a:accent5>
        <a:srgbClr val="D82531"/>
      </a:accent5>
      <a:accent6>
        <a:srgbClr val="893672"/>
      </a:accent6>
      <a:hlink>
        <a:srgbClr val="0000FF"/>
      </a:hlink>
      <a:folHlink>
        <a:srgbClr val="7030A0"/>
      </a:folHlink>
    </a:clrScheme>
    <a:fontScheme name="ユーザー定義 26">
      <a:majorFont>
        <a:latin typeface="Arial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accent1">
                <a:lumMod val="5000"/>
                <a:lumOff val="9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16200000" scaled="1"/>
        </a:gra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71755" algn="r">
          <a:defRPr sz="800" b="1" dirty="0" smtClean="0">
            <a:solidFill>
              <a:schemeClr val="bg2">
                <a:lumMod val="75000"/>
              </a:schemeClr>
            </a:solidFill>
            <a:cs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kumimoji="1"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a7d6a75-85ce-4348-a071-06fac5823398">
      <Terms xmlns="http://schemas.microsoft.com/office/infopath/2007/PartnerControls"/>
    </lcf76f155ced4ddcb4097134ff3c332f>
    <TaxCatchAll xmlns="888b7c3f-0c04-43f2-994a-4d15c126527e" xsi:nil="true"/>
    <MediaServiceMetadata xmlns="ca7d6a75-85ce-4348-a071-06fac5823398" xsi:nil="true"/>
    <MediaServiceFastMetadata xmlns="ca7d6a75-85ce-4348-a071-06fac5823398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542EBB9AEB5BBE4B9DE491019D16F818" ma:contentTypeVersion="18" ma:contentTypeDescription="新しいドキュメントを作成します。" ma:contentTypeScope="" ma:versionID="20b5a5790f7b017bb6c6a221f3553bdf">
  <xsd:schema xmlns:xsd="http://www.w3.org/2001/XMLSchema" xmlns:xs="http://www.w3.org/2001/XMLSchema" xmlns:p="http://schemas.microsoft.com/office/2006/metadata/properties" xmlns:ns2="ca7d6a75-85ce-4348-a071-06fac5823398" xmlns:ns3="888b7c3f-0c04-43f2-994a-4d15c126527e" targetNamespace="http://schemas.microsoft.com/office/2006/metadata/properties" ma:root="true" ma:fieldsID="1e47ce9ba86242f4c8fa2c8a5acad303" ns2:_="" ns3:_="">
    <xsd:import namespace="ca7d6a75-85ce-4348-a071-06fac5823398"/>
    <xsd:import namespace="888b7c3f-0c04-43f2-994a-4d15c12652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7d6a75-85ce-4348-a071-06fac582339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画像タグ" ma:readOnly="false" ma:fieldId="{5cf76f15-5ced-4ddc-b409-7134ff3c332f}" ma:taxonomyMulti="true" ma:sspId="761ec606-d3f6-431d-aca1-879ead0541e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88b7c3f-0c04-43f2-994a-4d15c126527e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af87c870-61a5-4a7c-8f00-14f66c82b7cb}" ma:internalName="TaxCatchAll" ma:showField="CatchAllData" ma:web="888b7c3f-0c04-43f2-994a-4d15c126527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E3A18B7-FA08-4F77-9B4B-210ABC1ECCC3}">
  <ds:schemaRefs>
    <ds:schemaRef ds:uri="888b7c3f-0c04-43f2-994a-4d15c126527e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ca7d6a75-85ce-4348-a071-06fac5823398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2DA27AC-83C4-4EE9-B46C-151C1CB5C4A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6687734-FD01-483E-B286-263F8DE07DAC}">
  <ds:schemaRefs>
    <ds:schemaRef ds:uri="888b7c3f-0c04-43f2-994a-4d15c126527e"/>
    <ds:schemaRef ds:uri="ca7d6a75-85ce-4348-a071-06fac582339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149</Words>
  <Application>Microsoft Office PowerPoint</Application>
  <PresentationFormat>ワイド画面</PresentationFormat>
  <Paragraphs>136</Paragraphs>
  <Slides>71</Slides>
  <Notes>6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71</vt:i4>
      </vt:variant>
    </vt:vector>
  </HeadingPairs>
  <TitlesOfParts>
    <vt:vector size="80" baseType="lpstr">
      <vt:lpstr>ＭＳ Ｐゴシック</vt:lpstr>
      <vt:lpstr>メイリオ</vt:lpstr>
      <vt:lpstr>メイリオ</vt:lpstr>
      <vt:lpstr>Arial</vt:lpstr>
      <vt:lpstr>Calibri</vt:lpstr>
      <vt:lpstr>Segoe UI</vt:lpstr>
      <vt:lpstr>Wingdings</vt:lpstr>
      <vt:lpstr>3_JERAテンプレート</vt:lpstr>
      <vt:lpstr>think-cellスライド</vt:lpstr>
      <vt:lpstr>【StudioX】ミニロボ_Excelとブラウザ操作</vt:lpstr>
      <vt:lpstr>タスク作成</vt:lpstr>
      <vt:lpstr>UiPath Studioを起動します。</vt:lpstr>
      <vt:lpstr>UiPath Studioのホーム画面で 「新規」「空のタスク」をクリックします。</vt:lpstr>
      <vt:lpstr>名前に「Excelとブラウザ操作」を入力、 「作成」をクリックします。</vt:lpstr>
      <vt:lpstr>画面構成</vt:lpstr>
      <vt:lpstr>上部が「リボン」です。</vt:lpstr>
      <vt:lpstr>左側が「アクティビティパネル」です。</vt:lpstr>
      <vt:lpstr>中央が「デザイナーパネル」です。</vt:lpstr>
      <vt:lpstr>右側が「プロパティパネル」です。</vt:lpstr>
      <vt:lpstr>URLからファイルをダウンロード</vt:lpstr>
      <vt:lpstr>アクティビティパネルで「グループ」を検索、 デザイナーパネルにドラッグ＆ドロップします。 （グループの名前を「URLからファイルをダウンロード」に変更）</vt:lpstr>
      <vt:lpstr>アクティビティパネルで「ファイルの存在を確認」を検索、 「グループ」の中にドラッグ＆ドロップします。</vt:lpstr>
      <vt:lpstr>「ファイルパス」で○＋をクリック、 「テキスト」を選択します。</vt:lpstr>
      <vt:lpstr>「data.xlsx」を入力、 「保存」をクリックします。</vt:lpstr>
      <vt:lpstr>「出力結果」で○＋をクリック、 「変数を作成」を選択します。</vt:lpstr>
      <vt:lpstr>「変数に名前を付ける」に「ファイルが存在する」を入力、 「OK」をクリックします。</vt:lpstr>
      <vt:lpstr>アクティビティパネルで「条件分岐 (if)」を検索、 「ファイルの存在を確認」の下にドラッグ＆ドロップします。 「条件」で○＋をクリック、 「変数を使用」を選択します。</vt:lpstr>
      <vt:lpstr>変数の＞をクリックします</vt:lpstr>
      <vt:lpstr>変数「ファイルが存在する」を選択します。</vt:lpstr>
      <vt:lpstr>PowerPoint プレゼンテーション</vt:lpstr>
      <vt:lpstr>「テキストビルダー」に「ファイルが存在します。」を入力します。</vt:lpstr>
      <vt:lpstr>アクティビティパネルで「Download File from URL」を検索、 「Else」の中にドラッグ＆ドロップします。 「URL」で○＋をクリック、 「テキストビルダーを開く」を選択します。</vt:lpstr>
      <vt:lpstr>「The full URL used to retrieve the file from.」に 「https://www.expense-demo.com/data.xlsx」を入力、 「保存」をクリックします。</vt:lpstr>
      <vt:lpstr>詳細オプションを表示をクリックし、 「Save file As」で○＋をクリック、 「テキストビルダーを開く」を選択します。 </vt:lpstr>
      <vt:lpstr>テキストビルダーに「data.xlsx」を入力、 保存をクリックします。</vt:lpstr>
      <vt:lpstr>「If file already exists」の右端「Ｖ」をクリックし、 「Replace」を選択します。</vt:lpstr>
      <vt:lpstr>アクティビティパネルで「1 行を書き込み」を検索、 「Download File from URL」の下にドラッグ＆ドロップします。 「テキストビルダー」で○＋をクリック、 「テキストビルダーを開く」を選択します。  </vt:lpstr>
      <vt:lpstr>「テキストビルダー」に「ファイルを URL からダウンロードしました。」を入力します。</vt:lpstr>
      <vt:lpstr>以上で「URLからファイルをダウンロード」パートは完成です。 リボンで「実行」をクリックすると、下記リンク先ビデオのように動作します。</vt:lpstr>
      <vt:lpstr>リボンで「プロジェクト」「プロジェクトフォルダーを開く」をクリックします。</vt:lpstr>
      <vt:lpstr>「data.xlsx」ダウンロード成功を確認します。</vt:lpstr>
      <vt:lpstr>Excelとブラウザ操作</vt:lpstr>
      <vt:lpstr>アクティビティパネルで「グループ」を検索、 デザイナーパネルにドラッグ＆ドロップします。 （グループの名前を「Excelとブラウザ操作」に変更）</vt:lpstr>
      <vt:lpstr>アクティビティパネルで「Excel プロセス スコープ」を検索、 「グループ」の中にドラッグ＆ドロップします。</vt:lpstr>
      <vt:lpstr>アクティビティパネルで「Excel ファイルを使用」を検索、 「Excel プロセス スコープ」の中にドラッグ＆ドロップします。 「変更を保存」を☑します。 「ファイルを参照」をクリックします。 </vt:lpstr>
      <vt:lpstr>「data.xlsx」を選択、 「開く」をクリックします。</vt:lpstr>
      <vt:lpstr>ブラウザEdgeで「https://www.expense-demo.com/」を開きます。</vt:lpstr>
      <vt:lpstr>アクティビティパネルで「アプリケーション/ブラウザーを使用」を検索、 「Excel ファイルを使用」の中の「実行」の中にドラッグ＆ドロップします。 「自動化するアプリケーションを指定」をクリック、 Edge「UiPath Demoサイト」画面を選択します。</vt:lpstr>
      <vt:lpstr>プロパティパネルで、 入力モード「シミュレート」を選択します。 </vt:lpstr>
      <vt:lpstr>プロパティパネルで、 ウィンドウサイズの変更「最大化」、 オープン動作「Always」、クローズ動作「Always」を選択します。 </vt:lpstr>
      <vt:lpstr>アクティビティパネルで「クリック」を検索、 「ブラウザーを使用」の中にドラッグ＆ドロップします。 「次で指定」をクリックします。</vt:lpstr>
      <vt:lpstr>Edge「UiPath Demoサイト」画面で、 「経費を登録する」をターゲットとして選択します。</vt:lpstr>
      <vt:lpstr>「経費登録」をアンカーとして選択、 「確認」をクリックします。 </vt:lpstr>
      <vt:lpstr>プロパティパネルで、 入力モード「アプリ/ブラウザーと同一」を選択します。 </vt:lpstr>
      <vt:lpstr>アクティビティパネルで「繰り返し (Excel の各行)」を検索、 「クリック '経費を登録する'」の下にドラッグ＆ドロップします。 「先頭行をヘッダーとする」を☑します。 「対象範囲」で○＋をクリック、 「Excel」「Sheet1[シート]」を選択します。 </vt:lpstr>
      <vt:lpstr>Edge「UiPath Demoサイト」で、 「経費を登録する」をクリック（図の画面に遷移）します。</vt:lpstr>
      <vt:lpstr>アクティビティパネルで「クリック」を検索、 「繰り返し (Excel の各行)」の中にドラッグ＆ドロップします。 「次で指定」をクリックします。 Edge「UiPath Demoサイト」で、 ターゲット「明細を登録する」、 アンカー「経費一覧」を選択します。</vt:lpstr>
      <vt:lpstr>プロパティパネルで、 入力モード「アプリ/ブラウザーと同一」を選択します。 </vt:lpstr>
      <vt:lpstr>Edge「UiPath Demoサイト」で、 「明細を登録する」をクリック（図の画面に遷移）します。 </vt:lpstr>
      <vt:lpstr>アクティビティパネルで「文字を入力」を検索、 「クリック '明細を登録する'」の下にドラッグ＆ドロップします。 「次で指定」をクリックします。 Edge「UiPath Demoサイト」で、 ターゲット「タイトル」の右隣にある入力ボックス、 アンカー「タイトル」を選択します。</vt:lpstr>
      <vt:lpstr>プロパティパネルで、 入力モード「アプリ/ブラウザーと同一」を選択します。 「以下を入力」で○＋をクリック、 「CurrentRow」「タイトル」を選択します。</vt:lpstr>
      <vt:lpstr>アクティビティパネルで「項目を選択」を検索、 「文字を入力 'タイトル*'」の下にドラッグ＆ドロップします。 「次で指定」をクリックします。  Edge「UiPath Demoサイト」で、 ターゲット「種別」の右隣にある入力ボックス、 アンカー「種別」を選択します。</vt:lpstr>
      <vt:lpstr>「選択する項目」で○＋をクリック、 「CurrentRow」「種別」を選択します。</vt:lpstr>
      <vt:lpstr>アクティビティパネルで「文字を入力」を検索、 「項目を選択 '種別*'」の下にドラッグ＆ドロップします。 「次で指定」をクリックします。  Edge「UiPath Demoサイト」で、 ターゲット「金額」の右隣にある入力ボックス、 アンカー「金額」を選択します。</vt:lpstr>
      <vt:lpstr>プロパティパネルで、 入力モード「アプリ/ブラウザーと同一」を選択します。 「以下を入力」で○＋をクリック、 「CurrentRow」「金額」を選択します。</vt:lpstr>
      <vt:lpstr>アクティビティパネルで「文字を入力」を検索、 「文字を入力 '金額*'」の下にドラッグ＆ドロップします。 「次で指定」をクリックします。  Edge「UiPath Demoサイト」で、 ターゲット「備考」の右隣にある入力ボックス、 アンカー「備考」を選択します。</vt:lpstr>
      <vt:lpstr>プロパティパネルで、 入力モード「アプリ/ブラウザーと同一」を選択します。 「以下を入力」で○＋をクリック、 「CurrentRow」「備考」を選択します。</vt:lpstr>
      <vt:lpstr>アクティビティパネルで「クリック」を検索、 「文字を入力 '備考'」の下にドラッグ＆ドロップします。 「次で指定」をクリックします。  Edge「UiPath Demoサイト」で、 ターゲット「登録する」、 アンカー「キャンセル」を選択します。</vt:lpstr>
      <vt:lpstr>プロパティパネルで、 入力モード「アプリ/ブラウザーと同一」を選択します。</vt:lpstr>
      <vt:lpstr>Edge「UiPath Demoサイト」で、 （仮データを入力し） 「登録する」をクリック（図の画面に遷移）します。</vt:lpstr>
      <vt:lpstr>アクティビティパネルで「テキストを取得」を検索、 「クリック '登録する'」の下にドラッグ＆ドロップします。  「次で指定」をクリックします。  Edge「UiPath Demoサイト」で、 ターゲット「コード：」右隣にある文字列、 アンカー「コード:」を選択します。</vt:lpstr>
      <vt:lpstr>「保存先」で○＋をクリック、 「変数を作成」を選択します。</vt:lpstr>
      <vt:lpstr>「変数に名前を付ける」に「コード」を入力、 「OK」をクリックします。</vt:lpstr>
      <vt:lpstr>変数「コード」のデータ型を「String」に設定します</vt:lpstr>
      <vt:lpstr>アクティビティパネルで「セルに書き込み」を検索、 「テキストを取得 'コード:'」の下にドラッグ＆ドロップします。 「書き込む内容」で○＋をクリック、 「変数を使用」を選択します。</vt:lpstr>
      <vt:lpstr>変数「コード」を選択します。</vt:lpstr>
      <vt:lpstr>「書き込む場所」で○＋をクリック、 「CurrentRow」「番号」を選択します。</vt:lpstr>
      <vt:lpstr>アクティビティパネルで「クリック」を検索、 「セルに書き込み」の下にドラッグ＆ドロップします。 「次で指定」をクリックします。  Edge「UiPath Demoサイト」で、 ターゲット「戻る」、 アンカー「破棄」を選択します。</vt:lpstr>
      <vt:lpstr>プロパティパネルで、 入力モード「アプリ/ブラウザーと同一」を選択します。</vt:lpstr>
      <vt:lpstr>以上でロボは完成です。 リボンで「実行」をクリックすると、下記リンク先ビデオのように動作します。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Yoshino.Wada@jera.co.jp</dc:creator>
  <cp:lastModifiedBy>浜崎 秀寿(Hidetoshi Hamazaki)</cp:lastModifiedBy>
  <cp:revision>167</cp:revision>
  <cp:lastPrinted>2024-10-18T01:14:48Z</cp:lastPrinted>
  <dcterms:created xsi:type="dcterms:W3CDTF">2014-11-11T09:42:09Z</dcterms:created>
  <dcterms:modified xsi:type="dcterms:W3CDTF">2026-01-19T22:36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2EBB9AEB5BBE4B9DE491019D16F818</vt:lpwstr>
  </property>
  <property fmtid="{D5CDD505-2E9C-101B-9397-08002B2CF9AE}" pid="3" name="MediaServiceImageTags">
    <vt:lpwstr/>
  </property>
</Properties>
</file>